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7"/>
  </p:notesMasterIdLst>
  <p:sldIdLst>
    <p:sldId id="454" r:id="rId5"/>
    <p:sldId id="508" r:id="rId6"/>
    <p:sldId id="530" r:id="rId7"/>
    <p:sldId id="509" r:id="rId8"/>
    <p:sldId id="510" r:id="rId9"/>
    <p:sldId id="511" r:id="rId10"/>
    <p:sldId id="512" r:id="rId11"/>
    <p:sldId id="513" r:id="rId12"/>
    <p:sldId id="531" r:id="rId13"/>
    <p:sldId id="514" r:id="rId14"/>
    <p:sldId id="515" r:id="rId15"/>
    <p:sldId id="516" r:id="rId16"/>
    <p:sldId id="525" r:id="rId17"/>
    <p:sldId id="517" r:id="rId18"/>
    <p:sldId id="532" r:id="rId19"/>
    <p:sldId id="518" r:id="rId20"/>
    <p:sldId id="519" r:id="rId21"/>
    <p:sldId id="520" r:id="rId22"/>
    <p:sldId id="527" r:id="rId23"/>
    <p:sldId id="529" r:id="rId24"/>
    <p:sldId id="521" r:id="rId25"/>
    <p:sldId id="526" r:id="rId26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4B"/>
    <a:srgbClr val="A9D18E"/>
    <a:srgbClr val="003249"/>
    <a:srgbClr val="479DDD"/>
    <a:srgbClr val="A40000"/>
    <a:srgbClr val="DE9DF5"/>
    <a:srgbClr val="D34EF5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81" d="100"/>
          <a:sy n="81" d="100"/>
        </p:scale>
        <p:origin x="58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ads\DOCs\Areas%20NIC\TI\Procesos\Clientes\DTIC\Reportes\peticiones%20DNS%20por%20HORA%20IPV6-IPV4%2020200228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MX"/>
              <a:t>Peticiones por Ho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le1!$I$1</c:f>
              <c:strCache>
                <c:ptCount val="1"/>
                <c:pt idx="0">
                  <c:v> IPv6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trendline>
            <c:spPr>
              <a:ln w="25400" cap="rnd">
                <a:solidFill>
                  <a:schemeClr val="tx1">
                    <a:lumMod val="95000"/>
                    <a:lumOff val="5000"/>
                  </a:schemeClr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Table1!$A$2349:$A$2773</c:f>
              <c:strCache>
                <c:ptCount val="425"/>
                <c:pt idx="0">
                  <c:v>2018-12-01</c:v>
                </c:pt>
                <c:pt idx="1">
                  <c:v>2018-12-02</c:v>
                </c:pt>
                <c:pt idx="2">
                  <c:v>2018-12-03</c:v>
                </c:pt>
                <c:pt idx="3">
                  <c:v>2018-12-04</c:v>
                </c:pt>
                <c:pt idx="4">
                  <c:v>2018-12-05</c:v>
                </c:pt>
                <c:pt idx="5">
                  <c:v>2018-12-06</c:v>
                </c:pt>
                <c:pt idx="6">
                  <c:v>2018-12-07</c:v>
                </c:pt>
                <c:pt idx="7">
                  <c:v>2018-12-08</c:v>
                </c:pt>
                <c:pt idx="8">
                  <c:v>2018-12-09</c:v>
                </c:pt>
                <c:pt idx="9">
                  <c:v>2018-12-10</c:v>
                </c:pt>
                <c:pt idx="10">
                  <c:v>2018-12-11</c:v>
                </c:pt>
                <c:pt idx="11">
                  <c:v>2018-12-12</c:v>
                </c:pt>
                <c:pt idx="12">
                  <c:v>2018-12-13</c:v>
                </c:pt>
                <c:pt idx="13">
                  <c:v>2018-12-14</c:v>
                </c:pt>
                <c:pt idx="14">
                  <c:v>2018-12-15</c:v>
                </c:pt>
                <c:pt idx="15">
                  <c:v>2018-12-16</c:v>
                </c:pt>
                <c:pt idx="16">
                  <c:v>2018-12-17</c:v>
                </c:pt>
                <c:pt idx="17">
                  <c:v>2018-12-18</c:v>
                </c:pt>
                <c:pt idx="18">
                  <c:v>2018-12-19</c:v>
                </c:pt>
                <c:pt idx="19">
                  <c:v>2018-12-20</c:v>
                </c:pt>
                <c:pt idx="20">
                  <c:v>2018-12-21</c:v>
                </c:pt>
                <c:pt idx="21">
                  <c:v>2018-12-22</c:v>
                </c:pt>
                <c:pt idx="22">
                  <c:v>2018-12-23</c:v>
                </c:pt>
                <c:pt idx="23">
                  <c:v>2018-12-24</c:v>
                </c:pt>
                <c:pt idx="24">
                  <c:v>2018-12-25</c:v>
                </c:pt>
                <c:pt idx="25">
                  <c:v>2018-12-26</c:v>
                </c:pt>
                <c:pt idx="26">
                  <c:v>2018-12-27</c:v>
                </c:pt>
                <c:pt idx="27">
                  <c:v>2018-12-28</c:v>
                </c:pt>
                <c:pt idx="28">
                  <c:v>2018-12-29</c:v>
                </c:pt>
                <c:pt idx="29">
                  <c:v>2018-12-30</c:v>
                </c:pt>
                <c:pt idx="30">
                  <c:v>2018-12-31</c:v>
                </c:pt>
                <c:pt idx="31">
                  <c:v>2019-01-01</c:v>
                </c:pt>
                <c:pt idx="32">
                  <c:v>2019-01-02</c:v>
                </c:pt>
                <c:pt idx="33">
                  <c:v>2019-01-03</c:v>
                </c:pt>
                <c:pt idx="34">
                  <c:v>2019-01-04</c:v>
                </c:pt>
                <c:pt idx="35">
                  <c:v>2019-01-05</c:v>
                </c:pt>
                <c:pt idx="36">
                  <c:v>2019-01-06</c:v>
                </c:pt>
                <c:pt idx="37">
                  <c:v>2019-01-07</c:v>
                </c:pt>
                <c:pt idx="38">
                  <c:v>2019-01-08</c:v>
                </c:pt>
                <c:pt idx="39">
                  <c:v>2019-01-09</c:v>
                </c:pt>
                <c:pt idx="40">
                  <c:v>2019-01-10</c:v>
                </c:pt>
                <c:pt idx="41">
                  <c:v>2019-01-11</c:v>
                </c:pt>
                <c:pt idx="42">
                  <c:v>2019-01-12</c:v>
                </c:pt>
                <c:pt idx="43">
                  <c:v>2019-01-13</c:v>
                </c:pt>
                <c:pt idx="44">
                  <c:v>2019-01-14</c:v>
                </c:pt>
                <c:pt idx="45">
                  <c:v>2019-01-15</c:v>
                </c:pt>
                <c:pt idx="46">
                  <c:v>2019-01-16</c:v>
                </c:pt>
                <c:pt idx="47">
                  <c:v>2019-01-17</c:v>
                </c:pt>
                <c:pt idx="48">
                  <c:v>2019-01-18</c:v>
                </c:pt>
                <c:pt idx="49">
                  <c:v>2019-01-19</c:v>
                </c:pt>
                <c:pt idx="50">
                  <c:v>2019-01-20</c:v>
                </c:pt>
                <c:pt idx="51">
                  <c:v>2019-01-21</c:v>
                </c:pt>
                <c:pt idx="52">
                  <c:v>2019-01-22</c:v>
                </c:pt>
                <c:pt idx="53">
                  <c:v>2019-01-23</c:v>
                </c:pt>
                <c:pt idx="54">
                  <c:v>2019-01-24</c:v>
                </c:pt>
                <c:pt idx="55">
                  <c:v>2019-01-25</c:v>
                </c:pt>
                <c:pt idx="56">
                  <c:v>2019-01-26</c:v>
                </c:pt>
                <c:pt idx="57">
                  <c:v>2019-01-27</c:v>
                </c:pt>
                <c:pt idx="58">
                  <c:v>2019-01-28</c:v>
                </c:pt>
                <c:pt idx="59">
                  <c:v>2019-01-29</c:v>
                </c:pt>
                <c:pt idx="60">
                  <c:v>2019-01-30</c:v>
                </c:pt>
                <c:pt idx="61">
                  <c:v>2019-01-31</c:v>
                </c:pt>
                <c:pt idx="62">
                  <c:v>2019-02-01</c:v>
                </c:pt>
                <c:pt idx="63">
                  <c:v>2019-02-02</c:v>
                </c:pt>
                <c:pt idx="64">
                  <c:v>2019-02-03</c:v>
                </c:pt>
                <c:pt idx="65">
                  <c:v>2019-02-04</c:v>
                </c:pt>
                <c:pt idx="66">
                  <c:v>2019-02-05</c:v>
                </c:pt>
                <c:pt idx="67">
                  <c:v>2019-02-06</c:v>
                </c:pt>
                <c:pt idx="68">
                  <c:v>2019-02-07</c:v>
                </c:pt>
                <c:pt idx="69">
                  <c:v>2019-02-08</c:v>
                </c:pt>
                <c:pt idx="70">
                  <c:v>2019-02-09</c:v>
                </c:pt>
                <c:pt idx="71">
                  <c:v>2019-02-10</c:v>
                </c:pt>
                <c:pt idx="72">
                  <c:v>2019-02-11</c:v>
                </c:pt>
                <c:pt idx="73">
                  <c:v>2019-02-12</c:v>
                </c:pt>
                <c:pt idx="74">
                  <c:v>2019-02-13</c:v>
                </c:pt>
                <c:pt idx="75">
                  <c:v>2019-02-14</c:v>
                </c:pt>
                <c:pt idx="76">
                  <c:v>2019-02-15</c:v>
                </c:pt>
                <c:pt idx="77">
                  <c:v>2019-02-16</c:v>
                </c:pt>
                <c:pt idx="78">
                  <c:v>2019-02-17</c:v>
                </c:pt>
                <c:pt idx="79">
                  <c:v>2019-02-18</c:v>
                </c:pt>
                <c:pt idx="80">
                  <c:v>2019-02-19</c:v>
                </c:pt>
                <c:pt idx="81">
                  <c:v>2019-02-20</c:v>
                </c:pt>
                <c:pt idx="82">
                  <c:v>2019-02-21</c:v>
                </c:pt>
                <c:pt idx="83">
                  <c:v>2019-02-22</c:v>
                </c:pt>
                <c:pt idx="84">
                  <c:v>2019-02-23</c:v>
                </c:pt>
                <c:pt idx="85">
                  <c:v>2019-02-24</c:v>
                </c:pt>
                <c:pt idx="86">
                  <c:v>2019-02-25</c:v>
                </c:pt>
                <c:pt idx="87">
                  <c:v>2019-02-26</c:v>
                </c:pt>
                <c:pt idx="88">
                  <c:v>2019-02-27</c:v>
                </c:pt>
                <c:pt idx="89">
                  <c:v>2019-02-28</c:v>
                </c:pt>
                <c:pt idx="90">
                  <c:v>2019-03-01</c:v>
                </c:pt>
                <c:pt idx="91">
                  <c:v>2019-03-02</c:v>
                </c:pt>
                <c:pt idx="92">
                  <c:v>2019-03-03</c:v>
                </c:pt>
                <c:pt idx="93">
                  <c:v>2019-03-04</c:v>
                </c:pt>
                <c:pt idx="94">
                  <c:v>2019-03-05</c:v>
                </c:pt>
                <c:pt idx="95">
                  <c:v>2019-03-06</c:v>
                </c:pt>
                <c:pt idx="96">
                  <c:v>2019-03-07</c:v>
                </c:pt>
                <c:pt idx="97">
                  <c:v>2019-03-08</c:v>
                </c:pt>
                <c:pt idx="98">
                  <c:v>2019-03-09</c:v>
                </c:pt>
                <c:pt idx="99">
                  <c:v>2019-03-10</c:v>
                </c:pt>
                <c:pt idx="100">
                  <c:v>2019-03-11</c:v>
                </c:pt>
                <c:pt idx="101">
                  <c:v>2019-03-12</c:v>
                </c:pt>
                <c:pt idx="102">
                  <c:v>2019-03-13</c:v>
                </c:pt>
                <c:pt idx="103">
                  <c:v>2019-03-14</c:v>
                </c:pt>
                <c:pt idx="104">
                  <c:v>2019-03-15</c:v>
                </c:pt>
                <c:pt idx="105">
                  <c:v>2019-03-16</c:v>
                </c:pt>
                <c:pt idx="106">
                  <c:v>2019-03-17</c:v>
                </c:pt>
                <c:pt idx="107">
                  <c:v>2019-03-18</c:v>
                </c:pt>
                <c:pt idx="108">
                  <c:v>2019-03-19</c:v>
                </c:pt>
                <c:pt idx="109">
                  <c:v>2019-03-20</c:v>
                </c:pt>
                <c:pt idx="110">
                  <c:v>2019-03-21</c:v>
                </c:pt>
                <c:pt idx="111">
                  <c:v>2019-03-22</c:v>
                </c:pt>
                <c:pt idx="112">
                  <c:v>2019-03-23</c:v>
                </c:pt>
                <c:pt idx="113">
                  <c:v>2019-03-24</c:v>
                </c:pt>
                <c:pt idx="114">
                  <c:v>2019-03-25</c:v>
                </c:pt>
                <c:pt idx="115">
                  <c:v>2019-03-26</c:v>
                </c:pt>
                <c:pt idx="116">
                  <c:v>2019-03-27</c:v>
                </c:pt>
                <c:pt idx="117">
                  <c:v>2019-03-28</c:v>
                </c:pt>
                <c:pt idx="118">
                  <c:v>2019-03-29</c:v>
                </c:pt>
                <c:pt idx="119">
                  <c:v>2019-03-30</c:v>
                </c:pt>
                <c:pt idx="120">
                  <c:v>2019-03-31</c:v>
                </c:pt>
                <c:pt idx="121">
                  <c:v>2019-04-01</c:v>
                </c:pt>
                <c:pt idx="122">
                  <c:v>2019-04-02</c:v>
                </c:pt>
                <c:pt idx="123">
                  <c:v>2019-04-03</c:v>
                </c:pt>
                <c:pt idx="124">
                  <c:v>2019-04-04</c:v>
                </c:pt>
                <c:pt idx="125">
                  <c:v>2019-04-05</c:v>
                </c:pt>
                <c:pt idx="126">
                  <c:v>2019-04-06</c:v>
                </c:pt>
                <c:pt idx="127">
                  <c:v>2019-04-07</c:v>
                </c:pt>
                <c:pt idx="128">
                  <c:v>2019-04-08</c:v>
                </c:pt>
                <c:pt idx="129">
                  <c:v>2019-04-09</c:v>
                </c:pt>
                <c:pt idx="130">
                  <c:v>2019-04-10</c:v>
                </c:pt>
                <c:pt idx="131">
                  <c:v>2019-04-11</c:v>
                </c:pt>
                <c:pt idx="132">
                  <c:v>2019-04-12</c:v>
                </c:pt>
                <c:pt idx="133">
                  <c:v>2019-04-13</c:v>
                </c:pt>
                <c:pt idx="134">
                  <c:v>2019-04-14</c:v>
                </c:pt>
                <c:pt idx="135">
                  <c:v>2019-04-15</c:v>
                </c:pt>
                <c:pt idx="136">
                  <c:v>2019-04-16</c:v>
                </c:pt>
                <c:pt idx="137">
                  <c:v>2019-04-17</c:v>
                </c:pt>
                <c:pt idx="138">
                  <c:v>2019-04-18</c:v>
                </c:pt>
                <c:pt idx="139">
                  <c:v>2019-04-19</c:v>
                </c:pt>
                <c:pt idx="140">
                  <c:v>2019-04-20</c:v>
                </c:pt>
                <c:pt idx="141">
                  <c:v>2019-04-21</c:v>
                </c:pt>
                <c:pt idx="142">
                  <c:v>2019-04-22</c:v>
                </c:pt>
                <c:pt idx="143">
                  <c:v>2019-04-23</c:v>
                </c:pt>
                <c:pt idx="144">
                  <c:v>2019-04-24</c:v>
                </c:pt>
                <c:pt idx="145">
                  <c:v>2019-04-25</c:v>
                </c:pt>
                <c:pt idx="146">
                  <c:v>2019-04-26</c:v>
                </c:pt>
                <c:pt idx="147">
                  <c:v>2019-04-27</c:v>
                </c:pt>
                <c:pt idx="148">
                  <c:v>2019-04-28</c:v>
                </c:pt>
                <c:pt idx="149">
                  <c:v>2019-04-29</c:v>
                </c:pt>
                <c:pt idx="150">
                  <c:v>2019-04-30</c:v>
                </c:pt>
                <c:pt idx="151">
                  <c:v>2019-05-01</c:v>
                </c:pt>
                <c:pt idx="152">
                  <c:v>2019-05-02</c:v>
                </c:pt>
                <c:pt idx="153">
                  <c:v>2019-05-03</c:v>
                </c:pt>
                <c:pt idx="154">
                  <c:v>2019-05-04</c:v>
                </c:pt>
                <c:pt idx="155">
                  <c:v>2019-05-05</c:v>
                </c:pt>
                <c:pt idx="156">
                  <c:v>2019-05-06</c:v>
                </c:pt>
                <c:pt idx="157">
                  <c:v>2019-05-07</c:v>
                </c:pt>
                <c:pt idx="158">
                  <c:v>2019-05-08</c:v>
                </c:pt>
                <c:pt idx="159">
                  <c:v>2019-05-09</c:v>
                </c:pt>
                <c:pt idx="160">
                  <c:v>2019-05-10</c:v>
                </c:pt>
                <c:pt idx="161">
                  <c:v>2019-05-11</c:v>
                </c:pt>
                <c:pt idx="162">
                  <c:v>2019-05-12</c:v>
                </c:pt>
                <c:pt idx="163">
                  <c:v>2019-05-13</c:v>
                </c:pt>
                <c:pt idx="164">
                  <c:v>2019-05-14</c:v>
                </c:pt>
                <c:pt idx="165">
                  <c:v>2019-05-15</c:v>
                </c:pt>
                <c:pt idx="166">
                  <c:v>2019-05-16</c:v>
                </c:pt>
                <c:pt idx="167">
                  <c:v>2019-05-17</c:v>
                </c:pt>
                <c:pt idx="168">
                  <c:v>2019-05-18</c:v>
                </c:pt>
                <c:pt idx="169">
                  <c:v>2019-05-19</c:v>
                </c:pt>
                <c:pt idx="170">
                  <c:v>2019-05-20</c:v>
                </c:pt>
                <c:pt idx="171">
                  <c:v>2019-05-21</c:v>
                </c:pt>
                <c:pt idx="172">
                  <c:v>2019-05-22</c:v>
                </c:pt>
                <c:pt idx="173">
                  <c:v>2019-05-23</c:v>
                </c:pt>
                <c:pt idx="174">
                  <c:v>2019-05-24</c:v>
                </c:pt>
                <c:pt idx="175">
                  <c:v>2019-05-25</c:v>
                </c:pt>
                <c:pt idx="176">
                  <c:v>2019-05-26</c:v>
                </c:pt>
                <c:pt idx="177">
                  <c:v>2019-05-27</c:v>
                </c:pt>
                <c:pt idx="178">
                  <c:v>2019-05-28</c:v>
                </c:pt>
                <c:pt idx="179">
                  <c:v>2019-05-29</c:v>
                </c:pt>
                <c:pt idx="180">
                  <c:v>2019-05-30</c:v>
                </c:pt>
                <c:pt idx="181">
                  <c:v>2019-05-31</c:v>
                </c:pt>
                <c:pt idx="182">
                  <c:v>2019-06-01</c:v>
                </c:pt>
                <c:pt idx="183">
                  <c:v>2019-06-02</c:v>
                </c:pt>
                <c:pt idx="184">
                  <c:v>2019-06-03</c:v>
                </c:pt>
                <c:pt idx="185">
                  <c:v>2019-06-04</c:v>
                </c:pt>
                <c:pt idx="186">
                  <c:v>2019-06-05</c:v>
                </c:pt>
                <c:pt idx="187">
                  <c:v>2019-06-06</c:v>
                </c:pt>
                <c:pt idx="188">
                  <c:v>2019-06-07</c:v>
                </c:pt>
                <c:pt idx="189">
                  <c:v>2019-06-08</c:v>
                </c:pt>
                <c:pt idx="190">
                  <c:v>2019-06-09</c:v>
                </c:pt>
                <c:pt idx="191">
                  <c:v>2019-06-10</c:v>
                </c:pt>
                <c:pt idx="192">
                  <c:v>2019-06-11</c:v>
                </c:pt>
                <c:pt idx="193">
                  <c:v>2019-06-12</c:v>
                </c:pt>
                <c:pt idx="194">
                  <c:v>2019-06-13</c:v>
                </c:pt>
                <c:pt idx="195">
                  <c:v>2019-06-14</c:v>
                </c:pt>
                <c:pt idx="196">
                  <c:v>2019-06-15</c:v>
                </c:pt>
                <c:pt idx="197">
                  <c:v>2019-06-16</c:v>
                </c:pt>
                <c:pt idx="198">
                  <c:v>2019-06-17</c:v>
                </c:pt>
                <c:pt idx="199">
                  <c:v>2019-06-18</c:v>
                </c:pt>
                <c:pt idx="200">
                  <c:v>2019-06-19</c:v>
                </c:pt>
                <c:pt idx="201">
                  <c:v>2019-06-20</c:v>
                </c:pt>
                <c:pt idx="202">
                  <c:v>2019-06-21</c:v>
                </c:pt>
                <c:pt idx="203">
                  <c:v>2019-06-22</c:v>
                </c:pt>
                <c:pt idx="204">
                  <c:v>2019-06-23</c:v>
                </c:pt>
                <c:pt idx="205">
                  <c:v>2019-06-24</c:v>
                </c:pt>
                <c:pt idx="206">
                  <c:v>2019-06-25</c:v>
                </c:pt>
                <c:pt idx="207">
                  <c:v>2019-06-26</c:v>
                </c:pt>
                <c:pt idx="208">
                  <c:v>2019-06-27</c:v>
                </c:pt>
                <c:pt idx="209">
                  <c:v>2019-06-28</c:v>
                </c:pt>
                <c:pt idx="210">
                  <c:v>2019-06-29</c:v>
                </c:pt>
                <c:pt idx="211">
                  <c:v>2019-06-30</c:v>
                </c:pt>
                <c:pt idx="212">
                  <c:v>2019-07-01</c:v>
                </c:pt>
                <c:pt idx="213">
                  <c:v>2019-07-02</c:v>
                </c:pt>
                <c:pt idx="214">
                  <c:v>2019-07-03</c:v>
                </c:pt>
                <c:pt idx="215">
                  <c:v>2019-07-04</c:v>
                </c:pt>
                <c:pt idx="216">
                  <c:v>2019-07-05</c:v>
                </c:pt>
                <c:pt idx="217">
                  <c:v>2019-07-06</c:v>
                </c:pt>
                <c:pt idx="218">
                  <c:v>2019-07-07</c:v>
                </c:pt>
                <c:pt idx="219">
                  <c:v>2019-07-08</c:v>
                </c:pt>
                <c:pt idx="220">
                  <c:v>2019-07-09</c:v>
                </c:pt>
                <c:pt idx="221">
                  <c:v>2019-07-10</c:v>
                </c:pt>
                <c:pt idx="222">
                  <c:v>2019-07-11</c:v>
                </c:pt>
                <c:pt idx="223">
                  <c:v>2019-07-12</c:v>
                </c:pt>
                <c:pt idx="224">
                  <c:v>2019-07-13</c:v>
                </c:pt>
                <c:pt idx="225">
                  <c:v>2019-07-14</c:v>
                </c:pt>
                <c:pt idx="226">
                  <c:v>2019-07-15</c:v>
                </c:pt>
                <c:pt idx="227">
                  <c:v>2019-07-16</c:v>
                </c:pt>
                <c:pt idx="228">
                  <c:v>2019-07-17</c:v>
                </c:pt>
                <c:pt idx="229">
                  <c:v>2019-07-18</c:v>
                </c:pt>
                <c:pt idx="230">
                  <c:v>2019-07-19</c:v>
                </c:pt>
                <c:pt idx="231">
                  <c:v>2019-07-20</c:v>
                </c:pt>
                <c:pt idx="232">
                  <c:v>2019-07-21</c:v>
                </c:pt>
                <c:pt idx="233">
                  <c:v>2019-07-22</c:v>
                </c:pt>
                <c:pt idx="234">
                  <c:v>2019-07-23</c:v>
                </c:pt>
                <c:pt idx="235">
                  <c:v>2019-07-24</c:v>
                </c:pt>
                <c:pt idx="236">
                  <c:v>2019-07-25</c:v>
                </c:pt>
                <c:pt idx="237">
                  <c:v>2019-07-26</c:v>
                </c:pt>
                <c:pt idx="238">
                  <c:v>2019-07-27</c:v>
                </c:pt>
                <c:pt idx="239">
                  <c:v>2019-07-28</c:v>
                </c:pt>
                <c:pt idx="240">
                  <c:v>2019-07-29</c:v>
                </c:pt>
                <c:pt idx="241">
                  <c:v>2019-07-30</c:v>
                </c:pt>
                <c:pt idx="242">
                  <c:v>2019-07-31</c:v>
                </c:pt>
                <c:pt idx="243">
                  <c:v>2019-08-01</c:v>
                </c:pt>
                <c:pt idx="244">
                  <c:v>2019-08-02</c:v>
                </c:pt>
                <c:pt idx="245">
                  <c:v>2019-08-03</c:v>
                </c:pt>
                <c:pt idx="246">
                  <c:v>2019-08-04</c:v>
                </c:pt>
                <c:pt idx="247">
                  <c:v>2019-08-05</c:v>
                </c:pt>
                <c:pt idx="248">
                  <c:v>2019-08-06</c:v>
                </c:pt>
                <c:pt idx="249">
                  <c:v>2019-08-07</c:v>
                </c:pt>
                <c:pt idx="250">
                  <c:v>2019-08-08</c:v>
                </c:pt>
                <c:pt idx="251">
                  <c:v>2019-08-09</c:v>
                </c:pt>
                <c:pt idx="252">
                  <c:v>2019-08-10</c:v>
                </c:pt>
                <c:pt idx="253">
                  <c:v>2019-08-11</c:v>
                </c:pt>
                <c:pt idx="254">
                  <c:v>2019-08-12</c:v>
                </c:pt>
                <c:pt idx="255">
                  <c:v>2019-08-13</c:v>
                </c:pt>
                <c:pt idx="256">
                  <c:v>2019-08-14</c:v>
                </c:pt>
                <c:pt idx="257">
                  <c:v>2019-08-15</c:v>
                </c:pt>
                <c:pt idx="258">
                  <c:v>2019-08-16</c:v>
                </c:pt>
                <c:pt idx="259">
                  <c:v>2019-08-17</c:v>
                </c:pt>
                <c:pt idx="260">
                  <c:v>2019-08-18</c:v>
                </c:pt>
                <c:pt idx="261">
                  <c:v>2019-08-19</c:v>
                </c:pt>
                <c:pt idx="262">
                  <c:v>2019-08-20</c:v>
                </c:pt>
                <c:pt idx="263">
                  <c:v>2019-08-21</c:v>
                </c:pt>
                <c:pt idx="264">
                  <c:v>2019-08-22</c:v>
                </c:pt>
                <c:pt idx="265">
                  <c:v>2019-08-23</c:v>
                </c:pt>
                <c:pt idx="266">
                  <c:v>2019-08-24</c:v>
                </c:pt>
                <c:pt idx="267">
                  <c:v>2019-08-25</c:v>
                </c:pt>
                <c:pt idx="268">
                  <c:v>2019-08-26</c:v>
                </c:pt>
                <c:pt idx="269">
                  <c:v>2019-08-27</c:v>
                </c:pt>
                <c:pt idx="270">
                  <c:v>2019-08-28</c:v>
                </c:pt>
                <c:pt idx="271">
                  <c:v>2019-08-29</c:v>
                </c:pt>
                <c:pt idx="272">
                  <c:v>2019-08-30</c:v>
                </c:pt>
                <c:pt idx="273">
                  <c:v>2019-08-31</c:v>
                </c:pt>
                <c:pt idx="274">
                  <c:v>2019-09-01</c:v>
                </c:pt>
                <c:pt idx="275">
                  <c:v>2019-09-02</c:v>
                </c:pt>
                <c:pt idx="276">
                  <c:v>2019-09-03</c:v>
                </c:pt>
                <c:pt idx="277">
                  <c:v>2019-09-04</c:v>
                </c:pt>
                <c:pt idx="278">
                  <c:v>2019-09-05</c:v>
                </c:pt>
                <c:pt idx="279">
                  <c:v>2019-09-06</c:v>
                </c:pt>
                <c:pt idx="280">
                  <c:v>2019-09-07</c:v>
                </c:pt>
                <c:pt idx="281">
                  <c:v>2019-09-08</c:v>
                </c:pt>
                <c:pt idx="282">
                  <c:v>2019-09-09</c:v>
                </c:pt>
                <c:pt idx="283">
                  <c:v>2019-09-10</c:v>
                </c:pt>
                <c:pt idx="284">
                  <c:v>2019-09-11</c:v>
                </c:pt>
                <c:pt idx="285">
                  <c:v>2019-09-12</c:v>
                </c:pt>
                <c:pt idx="286">
                  <c:v>2019-09-13</c:v>
                </c:pt>
                <c:pt idx="287">
                  <c:v>2019-09-14</c:v>
                </c:pt>
                <c:pt idx="288">
                  <c:v>2019-09-15</c:v>
                </c:pt>
                <c:pt idx="289">
                  <c:v>2019-09-16</c:v>
                </c:pt>
                <c:pt idx="290">
                  <c:v>2019-09-17</c:v>
                </c:pt>
                <c:pt idx="291">
                  <c:v>2019-09-18</c:v>
                </c:pt>
                <c:pt idx="292">
                  <c:v>2019-09-19</c:v>
                </c:pt>
                <c:pt idx="293">
                  <c:v>2019-09-20</c:v>
                </c:pt>
                <c:pt idx="294">
                  <c:v>2019-09-21</c:v>
                </c:pt>
                <c:pt idx="295">
                  <c:v>2019-09-22</c:v>
                </c:pt>
                <c:pt idx="296">
                  <c:v>2019-09-23</c:v>
                </c:pt>
                <c:pt idx="297">
                  <c:v>2019-09-24</c:v>
                </c:pt>
                <c:pt idx="298">
                  <c:v>2019-09-25</c:v>
                </c:pt>
                <c:pt idx="299">
                  <c:v>2019-09-26</c:v>
                </c:pt>
                <c:pt idx="300">
                  <c:v>2019-09-29</c:v>
                </c:pt>
                <c:pt idx="301">
                  <c:v>2019-09-30</c:v>
                </c:pt>
                <c:pt idx="302">
                  <c:v>2019-10-01</c:v>
                </c:pt>
                <c:pt idx="303">
                  <c:v>2019-10-02</c:v>
                </c:pt>
                <c:pt idx="304">
                  <c:v>2019-10-03</c:v>
                </c:pt>
                <c:pt idx="305">
                  <c:v>2019-10-04</c:v>
                </c:pt>
                <c:pt idx="306">
                  <c:v>2019-10-05</c:v>
                </c:pt>
                <c:pt idx="307">
                  <c:v>2019-10-06</c:v>
                </c:pt>
                <c:pt idx="308">
                  <c:v>2019-10-07</c:v>
                </c:pt>
                <c:pt idx="309">
                  <c:v>2019-10-08</c:v>
                </c:pt>
                <c:pt idx="310">
                  <c:v>2019-10-09</c:v>
                </c:pt>
                <c:pt idx="311">
                  <c:v>2019-10-10</c:v>
                </c:pt>
                <c:pt idx="312">
                  <c:v>2019-10-11</c:v>
                </c:pt>
                <c:pt idx="313">
                  <c:v>2019-10-12</c:v>
                </c:pt>
                <c:pt idx="314">
                  <c:v>2019-10-13</c:v>
                </c:pt>
                <c:pt idx="315">
                  <c:v>2019-10-14</c:v>
                </c:pt>
                <c:pt idx="316">
                  <c:v>2019-10-15</c:v>
                </c:pt>
                <c:pt idx="317">
                  <c:v>2019-10-16</c:v>
                </c:pt>
                <c:pt idx="318">
                  <c:v>2019-10-17</c:v>
                </c:pt>
                <c:pt idx="319">
                  <c:v>2019-10-18</c:v>
                </c:pt>
                <c:pt idx="320">
                  <c:v>2019-10-19</c:v>
                </c:pt>
                <c:pt idx="321">
                  <c:v>2019-10-20</c:v>
                </c:pt>
                <c:pt idx="322">
                  <c:v>2019-10-21</c:v>
                </c:pt>
                <c:pt idx="323">
                  <c:v>2019-10-22</c:v>
                </c:pt>
                <c:pt idx="324">
                  <c:v>2019-10-23</c:v>
                </c:pt>
                <c:pt idx="325">
                  <c:v>2019-10-24</c:v>
                </c:pt>
                <c:pt idx="326">
                  <c:v>2019-10-25</c:v>
                </c:pt>
                <c:pt idx="327">
                  <c:v>2019-10-26</c:v>
                </c:pt>
                <c:pt idx="328">
                  <c:v>2019-10-27</c:v>
                </c:pt>
                <c:pt idx="329">
                  <c:v>2019-10-28</c:v>
                </c:pt>
                <c:pt idx="330">
                  <c:v>2019-10-29</c:v>
                </c:pt>
                <c:pt idx="331">
                  <c:v>2019-10-30</c:v>
                </c:pt>
                <c:pt idx="332">
                  <c:v>2019-10-31</c:v>
                </c:pt>
                <c:pt idx="333">
                  <c:v>2019-11-01</c:v>
                </c:pt>
                <c:pt idx="334">
                  <c:v>2019-11-02</c:v>
                </c:pt>
                <c:pt idx="335">
                  <c:v>2019-11-03</c:v>
                </c:pt>
                <c:pt idx="336">
                  <c:v>2019-11-04</c:v>
                </c:pt>
                <c:pt idx="337">
                  <c:v>2019-11-05</c:v>
                </c:pt>
                <c:pt idx="338">
                  <c:v>2019-11-06</c:v>
                </c:pt>
                <c:pt idx="339">
                  <c:v>2019-11-07</c:v>
                </c:pt>
                <c:pt idx="340">
                  <c:v>2019-11-08</c:v>
                </c:pt>
                <c:pt idx="341">
                  <c:v>2019-11-09</c:v>
                </c:pt>
                <c:pt idx="342">
                  <c:v>2019-11-10</c:v>
                </c:pt>
                <c:pt idx="343">
                  <c:v>2019-11-11</c:v>
                </c:pt>
                <c:pt idx="344">
                  <c:v>2019-11-12</c:v>
                </c:pt>
                <c:pt idx="345">
                  <c:v>2019-11-13</c:v>
                </c:pt>
                <c:pt idx="346">
                  <c:v>2019-11-14</c:v>
                </c:pt>
                <c:pt idx="347">
                  <c:v>2019-11-15</c:v>
                </c:pt>
                <c:pt idx="348">
                  <c:v>2019-11-16</c:v>
                </c:pt>
                <c:pt idx="349">
                  <c:v>2019-11-17</c:v>
                </c:pt>
                <c:pt idx="350">
                  <c:v>2019-11-18</c:v>
                </c:pt>
                <c:pt idx="351">
                  <c:v>2019-11-19</c:v>
                </c:pt>
                <c:pt idx="352">
                  <c:v>2019-11-20</c:v>
                </c:pt>
                <c:pt idx="353">
                  <c:v>2019-11-21</c:v>
                </c:pt>
                <c:pt idx="354">
                  <c:v>2019-11-22</c:v>
                </c:pt>
                <c:pt idx="355">
                  <c:v>2019-11-23</c:v>
                </c:pt>
                <c:pt idx="356">
                  <c:v>2019-11-24</c:v>
                </c:pt>
                <c:pt idx="357">
                  <c:v>2019-11-25</c:v>
                </c:pt>
                <c:pt idx="358">
                  <c:v>2019-11-26</c:v>
                </c:pt>
                <c:pt idx="359">
                  <c:v>2019-11-27</c:v>
                </c:pt>
                <c:pt idx="360">
                  <c:v>2019-11-28</c:v>
                </c:pt>
                <c:pt idx="361">
                  <c:v>2019-11-29</c:v>
                </c:pt>
                <c:pt idx="362">
                  <c:v>2019-11-30</c:v>
                </c:pt>
                <c:pt idx="363">
                  <c:v>2019-12-01</c:v>
                </c:pt>
                <c:pt idx="364">
                  <c:v>2019-12-02</c:v>
                </c:pt>
                <c:pt idx="365">
                  <c:v>2019-12-03</c:v>
                </c:pt>
                <c:pt idx="366">
                  <c:v>2019-12-04</c:v>
                </c:pt>
                <c:pt idx="367">
                  <c:v>2019-12-05</c:v>
                </c:pt>
                <c:pt idx="368">
                  <c:v>2019-12-06</c:v>
                </c:pt>
                <c:pt idx="369">
                  <c:v>2019-12-07</c:v>
                </c:pt>
                <c:pt idx="370">
                  <c:v>2019-12-08</c:v>
                </c:pt>
                <c:pt idx="371">
                  <c:v>2019-12-09</c:v>
                </c:pt>
                <c:pt idx="372">
                  <c:v>2019-12-10</c:v>
                </c:pt>
                <c:pt idx="373">
                  <c:v>2019-12-11</c:v>
                </c:pt>
                <c:pt idx="374">
                  <c:v>2019-12-12</c:v>
                </c:pt>
                <c:pt idx="375">
                  <c:v>2019-12-13</c:v>
                </c:pt>
                <c:pt idx="376">
                  <c:v>2019-12-14</c:v>
                </c:pt>
                <c:pt idx="377">
                  <c:v>2019-12-15</c:v>
                </c:pt>
                <c:pt idx="378">
                  <c:v>2019-12-16</c:v>
                </c:pt>
                <c:pt idx="379">
                  <c:v>2019-12-17</c:v>
                </c:pt>
                <c:pt idx="380">
                  <c:v>2019-12-18</c:v>
                </c:pt>
                <c:pt idx="381">
                  <c:v>2019-12-19</c:v>
                </c:pt>
                <c:pt idx="382">
                  <c:v>2019-12-20</c:v>
                </c:pt>
                <c:pt idx="383">
                  <c:v>2019-12-21</c:v>
                </c:pt>
                <c:pt idx="384">
                  <c:v>2019-12-22</c:v>
                </c:pt>
                <c:pt idx="385">
                  <c:v>2019-12-23</c:v>
                </c:pt>
                <c:pt idx="386">
                  <c:v>2019-12-24</c:v>
                </c:pt>
                <c:pt idx="387">
                  <c:v>2019-12-25</c:v>
                </c:pt>
                <c:pt idx="388">
                  <c:v>2019-12-26</c:v>
                </c:pt>
                <c:pt idx="389">
                  <c:v>2019-12-27</c:v>
                </c:pt>
                <c:pt idx="390">
                  <c:v>2019-12-28</c:v>
                </c:pt>
                <c:pt idx="391">
                  <c:v>2019-12-29</c:v>
                </c:pt>
                <c:pt idx="392">
                  <c:v>2019-12-30</c:v>
                </c:pt>
                <c:pt idx="393">
                  <c:v>2019-12-31</c:v>
                </c:pt>
                <c:pt idx="394">
                  <c:v>2020-01-01</c:v>
                </c:pt>
                <c:pt idx="395">
                  <c:v>2020-01-02</c:v>
                </c:pt>
                <c:pt idx="396">
                  <c:v>2020-01-03</c:v>
                </c:pt>
                <c:pt idx="397">
                  <c:v>2020-01-04</c:v>
                </c:pt>
                <c:pt idx="398">
                  <c:v>2020-01-05</c:v>
                </c:pt>
                <c:pt idx="399">
                  <c:v>2020-01-06</c:v>
                </c:pt>
                <c:pt idx="400">
                  <c:v>2020-01-07</c:v>
                </c:pt>
                <c:pt idx="401">
                  <c:v>2020-01-08</c:v>
                </c:pt>
                <c:pt idx="402">
                  <c:v>2020-01-09</c:v>
                </c:pt>
                <c:pt idx="403">
                  <c:v>2020-01-10</c:v>
                </c:pt>
                <c:pt idx="404">
                  <c:v>2020-01-11</c:v>
                </c:pt>
                <c:pt idx="405">
                  <c:v>2020-01-12</c:v>
                </c:pt>
                <c:pt idx="406">
                  <c:v>2020-01-13</c:v>
                </c:pt>
                <c:pt idx="407">
                  <c:v>2020-01-14</c:v>
                </c:pt>
                <c:pt idx="408">
                  <c:v>2020-01-15</c:v>
                </c:pt>
                <c:pt idx="409">
                  <c:v>2020-01-16</c:v>
                </c:pt>
                <c:pt idx="410">
                  <c:v>2020-01-17</c:v>
                </c:pt>
                <c:pt idx="411">
                  <c:v>2020-01-18</c:v>
                </c:pt>
                <c:pt idx="412">
                  <c:v>2020-01-19</c:v>
                </c:pt>
                <c:pt idx="413">
                  <c:v>2020-01-20</c:v>
                </c:pt>
                <c:pt idx="414">
                  <c:v>2020-01-21</c:v>
                </c:pt>
                <c:pt idx="415">
                  <c:v>2020-01-22</c:v>
                </c:pt>
                <c:pt idx="416">
                  <c:v>2020-01-23</c:v>
                </c:pt>
                <c:pt idx="417">
                  <c:v>2020-01-24</c:v>
                </c:pt>
                <c:pt idx="418">
                  <c:v>2020-01-25</c:v>
                </c:pt>
                <c:pt idx="419">
                  <c:v>2020-01-26</c:v>
                </c:pt>
                <c:pt idx="420">
                  <c:v>2020-01-27</c:v>
                </c:pt>
                <c:pt idx="421">
                  <c:v>2020-01-28</c:v>
                </c:pt>
                <c:pt idx="422">
                  <c:v>2020-01-29</c:v>
                </c:pt>
                <c:pt idx="423">
                  <c:v>2020-01-30</c:v>
                </c:pt>
                <c:pt idx="424">
                  <c:v>2020-01-31</c:v>
                </c:pt>
              </c:strCache>
            </c:strRef>
          </c:cat>
          <c:val>
            <c:numRef>
              <c:f>Table1!$I$2349:$I$2773</c:f>
              <c:numCache>
                <c:formatCode>_(* #,##0_);_(* \(#,##0\);_(* "-"??_);_(@_)</c:formatCode>
                <c:ptCount val="425"/>
                <c:pt idx="0">
                  <c:v>9786423.833333334</c:v>
                </c:pt>
                <c:pt idx="1">
                  <c:v>9670354.833333334</c:v>
                </c:pt>
                <c:pt idx="2">
                  <c:v>10747661.75</c:v>
                </c:pt>
                <c:pt idx="3">
                  <c:v>10742739.25</c:v>
                </c:pt>
                <c:pt idx="4">
                  <c:v>11287332.916666666</c:v>
                </c:pt>
                <c:pt idx="5">
                  <c:v>11030881</c:v>
                </c:pt>
                <c:pt idx="6">
                  <c:v>10711907.583333334</c:v>
                </c:pt>
                <c:pt idx="7">
                  <c:v>9822687.333333334</c:v>
                </c:pt>
                <c:pt idx="8">
                  <c:v>9842205.833333334</c:v>
                </c:pt>
                <c:pt idx="9">
                  <c:v>10945295</c:v>
                </c:pt>
                <c:pt idx="10">
                  <c:v>10959974.166666666</c:v>
                </c:pt>
                <c:pt idx="11">
                  <c:v>13553450.916666666</c:v>
                </c:pt>
                <c:pt idx="12">
                  <c:v>16628761.5</c:v>
                </c:pt>
                <c:pt idx="13">
                  <c:v>16682105.333333334</c:v>
                </c:pt>
                <c:pt idx="14">
                  <c:v>15273867.083333334</c:v>
                </c:pt>
                <c:pt idx="15">
                  <c:v>14718871.583333334</c:v>
                </c:pt>
                <c:pt idx="16">
                  <c:v>13106846.666666666</c:v>
                </c:pt>
                <c:pt idx="17">
                  <c:v>8354017.416666667</c:v>
                </c:pt>
                <c:pt idx="18">
                  <c:v>8448521.416666666</c:v>
                </c:pt>
                <c:pt idx="19">
                  <c:v>8355727.416666667</c:v>
                </c:pt>
                <c:pt idx="20">
                  <c:v>8230303.083333333</c:v>
                </c:pt>
                <c:pt idx="21">
                  <c:v>7684720.583333333</c:v>
                </c:pt>
                <c:pt idx="22">
                  <c:v>7406042.916666667</c:v>
                </c:pt>
                <c:pt idx="23">
                  <c:v>7495237.166666667</c:v>
                </c:pt>
                <c:pt idx="24">
                  <c:v>7280538.916666667</c:v>
                </c:pt>
                <c:pt idx="25">
                  <c:v>7841506.333333333</c:v>
                </c:pt>
                <c:pt idx="26">
                  <c:v>7927954.083333333</c:v>
                </c:pt>
                <c:pt idx="27">
                  <c:v>7899865.916666667</c:v>
                </c:pt>
                <c:pt idx="28">
                  <c:v>7884704.25</c:v>
                </c:pt>
                <c:pt idx="29">
                  <c:v>7407132.833333333</c:v>
                </c:pt>
                <c:pt idx="30">
                  <c:v>7512688.5</c:v>
                </c:pt>
                <c:pt idx="31">
                  <c:v>7538937.666666667</c:v>
                </c:pt>
                <c:pt idx="32">
                  <c:v>8107899.583333333</c:v>
                </c:pt>
                <c:pt idx="33">
                  <c:v>8221113.333333333</c:v>
                </c:pt>
                <c:pt idx="34">
                  <c:v>8083220.416666667</c:v>
                </c:pt>
                <c:pt idx="35">
                  <c:v>7288100.666666667</c:v>
                </c:pt>
                <c:pt idx="36">
                  <c:v>8051417</c:v>
                </c:pt>
                <c:pt idx="37">
                  <c:v>9023368.333333334</c:v>
                </c:pt>
                <c:pt idx="38">
                  <c:v>9032335.25</c:v>
                </c:pt>
                <c:pt idx="39">
                  <c:v>7905428.25</c:v>
                </c:pt>
                <c:pt idx="40">
                  <c:v>6261935.25</c:v>
                </c:pt>
                <c:pt idx="41">
                  <c:v>8724711.083333334</c:v>
                </c:pt>
                <c:pt idx="42">
                  <c:v>8261256.916666667</c:v>
                </c:pt>
                <c:pt idx="43">
                  <c:v>8087806.5</c:v>
                </c:pt>
                <c:pt idx="44">
                  <c:v>9072670.916666666</c:v>
                </c:pt>
                <c:pt idx="45">
                  <c:v>9059591.583333334</c:v>
                </c:pt>
                <c:pt idx="46">
                  <c:v>9080057.083333334</c:v>
                </c:pt>
                <c:pt idx="47">
                  <c:v>8838623.666666666</c:v>
                </c:pt>
                <c:pt idx="48">
                  <c:v>8977939.416666666</c:v>
                </c:pt>
                <c:pt idx="49">
                  <c:v>8160411.666666667</c:v>
                </c:pt>
                <c:pt idx="50">
                  <c:v>8049732</c:v>
                </c:pt>
                <c:pt idx="51">
                  <c:v>9022690.5</c:v>
                </c:pt>
                <c:pt idx="52">
                  <c:v>9113999.666666666</c:v>
                </c:pt>
                <c:pt idx="53">
                  <c:v>9615954.583333334</c:v>
                </c:pt>
                <c:pt idx="54">
                  <c:v>9719721.666666666</c:v>
                </c:pt>
                <c:pt idx="55">
                  <c:v>9696934.416666666</c:v>
                </c:pt>
                <c:pt idx="56">
                  <c:v>8793673.75</c:v>
                </c:pt>
                <c:pt idx="57">
                  <c:v>8624578.833333334</c:v>
                </c:pt>
                <c:pt idx="58">
                  <c:v>9659621.583333334</c:v>
                </c:pt>
                <c:pt idx="59">
                  <c:v>10079436.5</c:v>
                </c:pt>
                <c:pt idx="60">
                  <c:v>10730044.916666666</c:v>
                </c:pt>
                <c:pt idx="61">
                  <c:v>11050354.25</c:v>
                </c:pt>
                <c:pt idx="62">
                  <c:v>11268778.25</c:v>
                </c:pt>
                <c:pt idx="63">
                  <c:v>9468549.75</c:v>
                </c:pt>
                <c:pt idx="64">
                  <c:v>9174249.083333334</c:v>
                </c:pt>
                <c:pt idx="65">
                  <c:v>9685327.083333334</c:v>
                </c:pt>
                <c:pt idx="66">
                  <c:v>10265617.5</c:v>
                </c:pt>
                <c:pt idx="67">
                  <c:v>10557989.916666666</c:v>
                </c:pt>
                <c:pt idx="68">
                  <c:v>10424370.666666666</c:v>
                </c:pt>
                <c:pt idx="69">
                  <c:v>10873528.416666666</c:v>
                </c:pt>
                <c:pt idx="70">
                  <c:v>10064234.083333334</c:v>
                </c:pt>
                <c:pt idx="71">
                  <c:v>9950593.583333334</c:v>
                </c:pt>
                <c:pt idx="72">
                  <c:v>11281934.833333334</c:v>
                </c:pt>
                <c:pt idx="73">
                  <c:v>11430192.25</c:v>
                </c:pt>
                <c:pt idx="74">
                  <c:v>11420215.666666666</c:v>
                </c:pt>
                <c:pt idx="75">
                  <c:v>11206663.083333334</c:v>
                </c:pt>
                <c:pt idx="76">
                  <c:v>12189632.5</c:v>
                </c:pt>
                <c:pt idx="77">
                  <c:v>10028613.833333334</c:v>
                </c:pt>
                <c:pt idx="78">
                  <c:v>9674266.166666666</c:v>
                </c:pt>
                <c:pt idx="79">
                  <c:v>11116831.416666666</c:v>
                </c:pt>
                <c:pt idx="80">
                  <c:v>11127064.75</c:v>
                </c:pt>
                <c:pt idx="81">
                  <c:v>11272226</c:v>
                </c:pt>
                <c:pt idx="82">
                  <c:v>11236286.75</c:v>
                </c:pt>
                <c:pt idx="83">
                  <c:v>11176544.833333334</c:v>
                </c:pt>
                <c:pt idx="84">
                  <c:v>9965141.25</c:v>
                </c:pt>
                <c:pt idx="85">
                  <c:v>9656314.5</c:v>
                </c:pt>
                <c:pt idx="86">
                  <c:v>10694963.833333334</c:v>
                </c:pt>
                <c:pt idx="87">
                  <c:v>10964933.166666666</c:v>
                </c:pt>
                <c:pt idx="88">
                  <c:v>10725701.166666666</c:v>
                </c:pt>
                <c:pt idx="89">
                  <c:v>10338548.416666666</c:v>
                </c:pt>
                <c:pt idx="90">
                  <c:v>10441506.166666666</c:v>
                </c:pt>
                <c:pt idx="91">
                  <c:v>9777413.833333334</c:v>
                </c:pt>
                <c:pt idx="92">
                  <c:v>9465433.666666666</c:v>
                </c:pt>
                <c:pt idx="93">
                  <c:v>10883197.416666666</c:v>
                </c:pt>
                <c:pt idx="94">
                  <c:v>10332774.583333334</c:v>
                </c:pt>
                <c:pt idx="95">
                  <c:v>6893979.75</c:v>
                </c:pt>
                <c:pt idx="96">
                  <c:v>8288252.166666667</c:v>
                </c:pt>
                <c:pt idx="97">
                  <c:v>8026524.583333333</c:v>
                </c:pt>
                <c:pt idx="98">
                  <c:v>8327732.583333333</c:v>
                </c:pt>
                <c:pt idx="99">
                  <c:v>9666563.833333334</c:v>
                </c:pt>
                <c:pt idx="100">
                  <c:v>11660293.25</c:v>
                </c:pt>
                <c:pt idx="101">
                  <c:v>11552096.416666666</c:v>
                </c:pt>
                <c:pt idx="102">
                  <c:v>10922981.5</c:v>
                </c:pt>
                <c:pt idx="103">
                  <c:v>11620382.083333334</c:v>
                </c:pt>
                <c:pt idx="104">
                  <c:v>11565154.333333334</c:v>
                </c:pt>
                <c:pt idx="105">
                  <c:v>10431201.833333334</c:v>
                </c:pt>
                <c:pt idx="106">
                  <c:v>10149724.416666666</c:v>
                </c:pt>
                <c:pt idx="107">
                  <c:v>11075391.916666666</c:v>
                </c:pt>
                <c:pt idx="108">
                  <c:v>11693025.166666666</c:v>
                </c:pt>
                <c:pt idx="109">
                  <c:v>11734911.75</c:v>
                </c:pt>
                <c:pt idx="110">
                  <c:v>11419104.166666666</c:v>
                </c:pt>
                <c:pt idx="111">
                  <c:v>11356924.25</c:v>
                </c:pt>
                <c:pt idx="112">
                  <c:v>10248486.666666666</c:v>
                </c:pt>
                <c:pt idx="113">
                  <c:v>10412355.166666666</c:v>
                </c:pt>
                <c:pt idx="114">
                  <c:v>11821689.5</c:v>
                </c:pt>
                <c:pt idx="115">
                  <c:v>11367060.666666666</c:v>
                </c:pt>
                <c:pt idx="116">
                  <c:v>11397568.166666666</c:v>
                </c:pt>
                <c:pt idx="117">
                  <c:v>11572143.083333334</c:v>
                </c:pt>
                <c:pt idx="118">
                  <c:v>11275828.083333334</c:v>
                </c:pt>
                <c:pt idx="119">
                  <c:v>10100245.333333334</c:v>
                </c:pt>
                <c:pt idx="120">
                  <c:v>10253107.166666666</c:v>
                </c:pt>
                <c:pt idx="121">
                  <c:v>11411294.583333334</c:v>
                </c:pt>
                <c:pt idx="122">
                  <c:v>11675974.5</c:v>
                </c:pt>
                <c:pt idx="123">
                  <c:v>11457884.5</c:v>
                </c:pt>
                <c:pt idx="124">
                  <c:v>12138303.166666666</c:v>
                </c:pt>
                <c:pt idx="125">
                  <c:v>12486606.833333334</c:v>
                </c:pt>
                <c:pt idx="126">
                  <c:v>11532497.416666666</c:v>
                </c:pt>
                <c:pt idx="127">
                  <c:v>10569665.333333334</c:v>
                </c:pt>
                <c:pt idx="128">
                  <c:v>12710566.75</c:v>
                </c:pt>
                <c:pt idx="129">
                  <c:v>12571432.416666666</c:v>
                </c:pt>
                <c:pt idx="130">
                  <c:v>11791196.75</c:v>
                </c:pt>
                <c:pt idx="131">
                  <c:v>11225566.166666666</c:v>
                </c:pt>
                <c:pt idx="132">
                  <c:v>10963632.166666666</c:v>
                </c:pt>
                <c:pt idx="133">
                  <c:v>10210310.916666666</c:v>
                </c:pt>
                <c:pt idx="134">
                  <c:v>9857823.583333334</c:v>
                </c:pt>
                <c:pt idx="135">
                  <c:v>11329760.916666666</c:v>
                </c:pt>
                <c:pt idx="136">
                  <c:v>11366248.75</c:v>
                </c:pt>
                <c:pt idx="137">
                  <c:v>11670476.333333334</c:v>
                </c:pt>
                <c:pt idx="138">
                  <c:v>10775938.666666666</c:v>
                </c:pt>
                <c:pt idx="139">
                  <c:v>9914934.416666666</c:v>
                </c:pt>
                <c:pt idx="140">
                  <c:v>9691766.166666666</c:v>
                </c:pt>
                <c:pt idx="141">
                  <c:v>9725108.166666666</c:v>
                </c:pt>
                <c:pt idx="142">
                  <c:v>10906030.833333334</c:v>
                </c:pt>
                <c:pt idx="143">
                  <c:v>11322910.5</c:v>
                </c:pt>
                <c:pt idx="144">
                  <c:v>11703827.833333334</c:v>
                </c:pt>
                <c:pt idx="145">
                  <c:v>11707313.25</c:v>
                </c:pt>
                <c:pt idx="146">
                  <c:v>9611186.583333334</c:v>
                </c:pt>
                <c:pt idx="147">
                  <c:v>8346149.833333333</c:v>
                </c:pt>
                <c:pt idx="148">
                  <c:v>8195611.166666667</c:v>
                </c:pt>
                <c:pt idx="149">
                  <c:v>9390766.083333334</c:v>
                </c:pt>
                <c:pt idx="150">
                  <c:v>9427618.583333334</c:v>
                </c:pt>
                <c:pt idx="151">
                  <c:v>9086123.083333334</c:v>
                </c:pt>
                <c:pt idx="152">
                  <c:v>9696456.666666666</c:v>
                </c:pt>
                <c:pt idx="153">
                  <c:v>9931556.75</c:v>
                </c:pt>
                <c:pt idx="154">
                  <c:v>8525648.75</c:v>
                </c:pt>
                <c:pt idx="155">
                  <c:v>8343681.166666667</c:v>
                </c:pt>
                <c:pt idx="156">
                  <c:v>9253360.166666666</c:v>
                </c:pt>
                <c:pt idx="157">
                  <c:v>9605385.583333334</c:v>
                </c:pt>
                <c:pt idx="158">
                  <c:v>10120152.083333334</c:v>
                </c:pt>
                <c:pt idx="159">
                  <c:v>10237597.25</c:v>
                </c:pt>
                <c:pt idx="160">
                  <c:v>9529500.333333334</c:v>
                </c:pt>
                <c:pt idx="161">
                  <c:v>8752102</c:v>
                </c:pt>
                <c:pt idx="162">
                  <c:v>8580511.75</c:v>
                </c:pt>
                <c:pt idx="163">
                  <c:v>9690185.166666666</c:v>
                </c:pt>
                <c:pt idx="164">
                  <c:v>10085714.166666666</c:v>
                </c:pt>
                <c:pt idx="165">
                  <c:v>11117066.166666666</c:v>
                </c:pt>
                <c:pt idx="166">
                  <c:v>11413787</c:v>
                </c:pt>
                <c:pt idx="167">
                  <c:v>10764756</c:v>
                </c:pt>
                <c:pt idx="168">
                  <c:v>11340045.916666666</c:v>
                </c:pt>
                <c:pt idx="169">
                  <c:v>11157584.916666666</c:v>
                </c:pt>
                <c:pt idx="170">
                  <c:v>12743789.5</c:v>
                </c:pt>
                <c:pt idx="171">
                  <c:v>13401266.833333334</c:v>
                </c:pt>
                <c:pt idx="172">
                  <c:v>13104110.5</c:v>
                </c:pt>
                <c:pt idx="173">
                  <c:v>12350417.666666666</c:v>
                </c:pt>
                <c:pt idx="174">
                  <c:v>11844085.416666666</c:v>
                </c:pt>
                <c:pt idx="175">
                  <c:v>10264387.583333334</c:v>
                </c:pt>
                <c:pt idx="176">
                  <c:v>10408015.25</c:v>
                </c:pt>
                <c:pt idx="177">
                  <c:v>11829176</c:v>
                </c:pt>
                <c:pt idx="178">
                  <c:v>12008088.916666666</c:v>
                </c:pt>
                <c:pt idx="179">
                  <c:v>12129789.666666666</c:v>
                </c:pt>
                <c:pt idx="180">
                  <c:v>11994109.333333334</c:v>
                </c:pt>
                <c:pt idx="181">
                  <c:v>12254512.083333334</c:v>
                </c:pt>
                <c:pt idx="182">
                  <c:v>10564188.666666666</c:v>
                </c:pt>
                <c:pt idx="183">
                  <c:v>10431663.083333334</c:v>
                </c:pt>
                <c:pt idx="184">
                  <c:v>12136644.75</c:v>
                </c:pt>
                <c:pt idx="185">
                  <c:v>13136618.833333334</c:v>
                </c:pt>
                <c:pt idx="186">
                  <c:v>12610447.083333334</c:v>
                </c:pt>
                <c:pt idx="187">
                  <c:v>12406177.916666666</c:v>
                </c:pt>
                <c:pt idx="188">
                  <c:v>12302207.25</c:v>
                </c:pt>
                <c:pt idx="189">
                  <c:v>10681879.166666666</c:v>
                </c:pt>
                <c:pt idx="190">
                  <c:v>10326231.583333334</c:v>
                </c:pt>
                <c:pt idx="191">
                  <c:v>12485779</c:v>
                </c:pt>
                <c:pt idx="192">
                  <c:v>12764801.416666666</c:v>
                </c:pt>
                <c:pt idx="193">
                  <c:v>12574461.5</c:v>
                </c:pt>
                <c:pt idx="194">
                  <c:v>11881930.916666666</c:v>
                </c:pt>
                <c:pt idx="195">
                  <c:v>11097804.583333334</c:v>
                </c:pt>
                <c:pt idx="196">
                  <c:v>10127301.333333334</c:v>
                </c:pt>
                <c:pt idx="197">
                  <c:v>9484740.666666666</c:v>
                </c:pt>
                <c:pt idx="198">
                  <c:v>11559093.166666666</c:v>
                </c:pt>
                <c:pt idx="199">
                  <c:v>11477131.75</c:v>
                </c:pt>
                <c:pt idx="200">
                  <c:v>11555533.333333334</c:v>
                </c:pt>
                <c:pt idx="201">
                  <c:v>11182240.666666666</c:v>
                </c:pt>
                <c:pt idx="202">
                  <c:v>11093535</c:v>
                </c:pt>
                <c:pt idx="203">
                  <c:v>9287074.583333334</c:v>
                </c:pt>
                <c:pt idx="204">
                  <c:v>9551093.833333334</c:v>
                </c:pt>
                <c:pt idx="205">
                  <c:v>12027169.416666666</c:v>
                </c:pt>
                <c:pt idx="206">
                  <c:v>11788155.75</c:v>
                </c:pt>
                <c:pt idx="207">
                  <c:v>12300657.416666666</c:v>
                </c:pt>
                <c:pt idx="208">
                  <c:v>12406726.75</c:v>
                </c:pt>
                <c:pt idx="209">
                  <c:v>12029715.583333334</c:v>
                </c:pt>
                <c:pt idx="210">
                  <c:v>10684271.666666666</c:v>
                </c:pt>
                <c:pt idx="211">
                  <c:v>10578733.583333334</c:v>
                </c:pt>
                <c:pt idx="212">
                  <c:v>12489722.833333334</c:v>
                </c:pt>
                <c:pt idx="213">
                  <c:v>11959272.166666666</c:v>
                </c:pt>
                <c:pt idx="214">
                  <c:v>11671360.833333334</c:v>
                </c:pt>
                <c:pt idx="215">
                  <c:v>11789481.083333334</c:v>
                </c:pt>
                <c:pt idx="216">
                  <c:v>11736895.5</c:v>
                </c:pt>
                <c:pt idx="217">
                  <c:v>10245419.25</c:v>
                </c:pt>
                <c:pt idx="218">
                  <c:v>10701482.916666666</c:v>
                </c:pt>
                <c:pt idx="219">
                  <c:v>13795439.75</c:v>
                </c:pt>
                <c:pt idx="220">
                  <c:v>14341847.333333334</c:v>
                </c:pt>
                <c:pt idx="221">
                  <c:v>13345706.833333334</c:v>
                </c:pt>
                <c:pt idx="222">
                  <c:v>12996502.5</c:v>
                </c:pt>
                <c:pt idx="223">
                  <c:v>12978313.083333334</c:v>
                </c:pt>
                <c:pt idx="224">
                  <c:v>11436508.75</c:v>
                </c:pt>
                <c:pt idx="225">
                  <c:v>11002159.916666666</c:v>
                </c:pt>
                <c:pt idx="226">
                  <c:v>12303785.083333334</c:v>
                </c:pt>
                <c:pt idx="227">
                  <c:v>12607919.75</c:v>
                </c:pt>
                <c:pt idx="228">
                  <c:v>12509145.75</c:v>
                </c:pt>
                <c:pt idx="229">
                  <c:v>12602063.666666666</c:v>
                </c:pt>
                <c:pt idx="230">
                  <c:v>12174809.666666666</c:v>
                </c:pt>
                <c:pt idx="231">
                  <c:v>10802832.916666666</c:v>
                </c:pt>
                <c:pt idx="232">
                  <c:v>10890484.25</c:v>
                </c:pt>
                <c:pt idx="233">
                  <c:v>11823240.166666666</c:v>
                </c:pt>
                <c:pt idx="234">
                  <c:v>12313277.083333334</c:v>
                </c:pt>
                <c:pt idx="235">
                  <c:v>12180741.833333334</c:v>
                </c:pt>
                <c:pt idx="236">
                  <c:v>13151866.916666666</c:v>
                </c:pt>
                <c:pt idx="237">
                  <c:v>12713394.583333334</c:v>
                </c:pt>
                <c:pt idx="238">
                  <c:v>11118950.666666666</c:v>
                </c:pt>
                <c:pt idx="239">
                  <c:v>10868519.416666666</c:v>
                </c:pt>
                <c:pt idx="240">
                  <c:v>12840231.416666666</c:v>
                </c:pt>
                <c:pt idx="241">
                  <c:v>12552880.75</c:v>
                </c:pt>
                <c:pt idx="242">
                  <c:v>12152432.916666666</c:v>
                </c:pt>
                <c:pt idx="243">
                  <c:v>12606656.833333334</c:v>
                </c:pt>
                <c:pt idx="244">
                  <c:v>11708677.5</c:v>
                </c:pt>
                <c:pt idx="245">
                  <c:v>10990323.333333334</c:v>
                </c:pt>
                <c:pt idx="246">
                  <c:v>10378545.25</c:v>
                </c:pt>
                <c:pt idx="247">
                  <c:v>11301746.166666666</c:v>
                </c:pt>
                <c:pt idx="248">
                  <c:v>11462671.916666666</c:v>
                </c:pt>
                <c:pt idx="249">
                  <c:v>12023961.583333334</c:v>
                </c:pt>
                <c:pt idx="250">
                  <c:v>12441005.833333334</c:v>
                </c:pt>
                <c:pt idx="251">
                  <c:v>12172943.25</c:v>
                </c:pt>
                <c:pt idx="252">
                  <c:v>11290236.083333334</c:v>
                </c:pt>
                <c:pt idx="253">
                  <c:v>10898704.75</c:v>
                </c:pt>
                <c:pt idx="254">
                  <c:v>12814529.75</c:v>
                </c:pt>
                <c:pt idx="255">
                  <c:v>12772452.75</c:v>
                </c:pt>
                <c:pt idx="256">
                  <c:v>13113783.416666666</c:v>
                </c:pt>
                <c:pt idx="257">
                  <c:v>13227486.833333334</c:v>
                </c:pt>
                <c:pt idx="258">
                  <c:v>12547559.583333334</c:v>
                </c:pt>
                <c:pt idx="259">
                  <c:v>11513593.583333334</c:v>
                </c:pt>
                <c:pt idx="260">
                  <c:v>11302201.333333334</c:v>
                </c:pt>
                <c:pt idx="261">
                  <c:v>13410133.083333334</c:v>
                </c:pt>
                <c:pt idx="262">
                  <c:v>13273105.416666666</c:v>
                </c:pt>
                <c:pt idx="263">
                  <c:v>13995289.333333334</c:v>
                </c:pt>
                <c:pt idx="264">
                  <c:v>13913919.583333334</c:v>
                </c:pt>
                <c:pt idx="265">
                  <c:v>13121398.916666666</c:v>
                </c:pt>
                <c:pt idx="266">
                  <c:v>11482254.333333334</c:v>
                </c:pt>
                <c:pt idx="267">
                  <c:v>11644502.583333334</c:v>
                </c:pt>
                <c:pt idx="268">
                  <c:v>13267392.083333334</c:v>
                </c:pt>
                <c:pt idx="269">
                  <c:v>13436101.833333334</c:v>
                </c:pt>
                <c:pt idx="270">
                  <c:v>13676363.5</c:v>
                </c:pt>
                <c:pt idx="271">
                  <c:v>13368742.75</c:v>
                </c:pt>
                <c:pt idx="272">
                  <c:v>13034357.083333334</c:v>
                </c:pt>
                <c:pt idx="273">
                  <c:v>12148892.75</c:v>
                </c:pt>
                <c:pt idx="274">
                  <c:v>11279773.416666666</c:v>
                </c:pt>
                <c:pt idx="275">
                  <c:v>12773150</c:v>
                </c:pt>
                <c:pt idx="276">
                  <c:v>13182004.583333334</c:v>
                </c:pt>
                <c:pt idx="277">
                  <c:v>13480128.5</c:v>
                </c:pt>
                <c:pt idx="278">
                  <c:v>14196998.25</c:v>
                </c:pt>
                <c:pt idx="279">
                  <c:v>13763529.916666666</c:v>
                </c:pt>
                <c:pt idx="280">
                  <c:v>12567605.25</c:v>
                </c:pt>
                <c:pt idx="281">
                  <c:v>12238555.916666666</c:v>
                </c:pt>
                <c:pt idx="282">
                  <c:v>13861426.75</c:v>
                </c:pt>
                <c:pt idx="283">
                  <c:v>13777580.25</c:v>
                </c:pt>
                <c:pt idx="284">
                  <c:v>13194439.583333334</c:v>
                </c:pt>
                <c:pt idx="285">
                  <c:v>13114776.583333334</c:v>
                </c:pt>
                <c:pt idx="286">
                  <c:v>12153083.416666666</c:v>
                </c:pt>
                <c:pt idx="287">
                  <c:v>10950228.083333334</c:v>
                </c:pt>
                <c:pt idx="288">
                  <c:v>10563722.916666666</c:v>
                </c:pt>
                <c:pt idx="289">
                  <c:v>11608726.916666666</c:v>
                </c:pt>
                <c:pt idx="290">
                  <c:v>12461241</c:v>
                </c:pt>
                <c:pt idx="291">
                  <c:v>12782407.666666666</c:v>
                </c:pt>
                <c:pt idx="292">
                  <c:v>13161412.75</c:v>
                </c:pt>
                <c:pt idx="293">
                  <c:v>12893709</c:v>
                </c:pt>
                <c:pt idx="294">
                  <c:v>11954092.833333334</c:v>
                </c:pt>
                <c:pt idx="295">
                  <c:v>11199654.25</c:v>
                </c:pt>
                <c:pt idx="296">
                  <c:v>13423761.25</c:v>
                </c:pt>
                <c:pt idx="297">
                  <c:v>10997149.75</c:v>
                </c:pt>
                <c:pt idx="298">
                  <c:v>7307189.083333333</c:v>
                </c:pt>
                <c:pt idx="299">
                  <c:v>7113295.083333333</c:v>
                </c:pt>
                <c:pt idx="300">
                  <c:v>7108777.083333333</c:v>
                </c:pt>
                <c:pt idx="301">
                  <c:v>13900992.333333334</c:v>
                </c:pt>
                <c:pt idx="302">
                  <c:v>13484141.583333334</c:v>
                </c:pt>
                <c:pt idx="303">
                  <c:v>14622759.083333334</c:v>
                </c:pt>
                <c:pt idx="304">
                  <c:v>14433372</c:v>
                </c:pt>
                <c:pt idx="305">
                  <c:v>12856487</c:v>
                </c:pt>
                <c:pt idx="306">
                  <c:v>11194146.583333334</c:v>
                </c:pt>
                <c:pt idx="307">
                  <c:v>10912332</c:v>
                </c:pt>
                <c:pt idx="308">
                  <c:v>12526201</c:v>
                </c:pt>
                <c:pt idx="309">
                  <c:v>12282035.083333334</c:v>
                </c:pt>
                <c:pt idx="310">
                  <c:v>12311721.333333334</c:v>
                </c:pt>
                <c:pt idx="311">
                  <c:v>12597370.833333334</c:v>
                </c:pt>
                <c:pt idx="312">
                  <c:v>14420014.666666666</c:v>
                </c:pt>
                <c:pt idx="313">
                  <c:v>10963730.166666666</c:v>
                </c:pt>
                <c:pt idx="314">
                  <c:v>10692822.75</c:v>
                </c:pt>
                <c:pt idx="315">
                  <c:v>12877406.666666666</c:v>
                </c:pt>
                <c:pt idx="316">
                  <c:v>13339884</c:v>
                </c:pt>
                <c:pt idx="317">
                  <c:v>13734344.25</c:v>
                </c:pt>
                <c:pt idx="318">
                  <c:v>13666018.916666666</c:v>
                </c:pt>
                <c:pt idx="319">
                  <c:v>13165744.416666666</c:v>
                </c:pt>
                <c:pt idx="320">
                  <c:v>11209504</c:v>
                </c:pt>
                <c:pt idx="321">
                  <c:v>10670031.166666666</c:v>
                </c:pt>
                <c:pt idx="322">
                  <c:v>12372972.416666666</c:v>
                </c:pt>
                <c:pt idx="323">
                  <c:v>12639281.083333334</c:v>
                </c:pt>
                <c:pt idx="324">
                  <c:v>12901673.666666666</c:v>
                </c:pt>
                <c:pt idx="325">
                  <c:v>12340722.666666666</c:v>
                </c:pt>
                <c:pt idx="326">
                  <c:v>12068059.25</c:v>
                </c:pt>
                <c:pt idx="327">
                  <c:v>10801156.833333334</c:v>
                </c:pt>
                <c:pt idx="328">
                  <c:v>11876530</c:v>
                </c:pt>
                <c:pt idx="329">
                  <c:v>12973417.75</c:v>
                </c:pt>
                <c:pt idx="330">
                  <c:v>12839924.833333334</c:v>
                </c:pt>
                <c:pt idx="331">
                  <c:v>14857588.416666666</c:v>
                </c:pt>
                <c:pt idx="332">
                  <c:v>14845044.25</c:v>
                </c:pt>
                <c:pt idx="333">
                  <c:v>13160686.083333334</c:v>
                </c:pt>
                <c:pt idx="334">
                  <c:v>11850448.333333334</c:v>
                </c:pt>
                <c:pt idx="335">
                  <c:v>11647332.916666666</c:v>
                </c:pt>
                <c:pt idx="336">
                  <c:v>14316657.916666666</c:v>
                </c:pt>
                <c:pt idx="337">
                  <c:v>14216743.583333334</c:v>
                </c:pt>
                <c:pt idx="338">
                  <c:v>14030541.416666666</c:v>
                </c:pt>
                <c:pt idx="339">
                  <c:v>14195213</c:v>
                </c:pt>
                <c:pt idx="340">
                  <c:v>13478826.75</c:v>
                </c:pt>
                <c:pt idx="341">
                  <c:v>12228305.083333334</c:v>
                </c:pt>
                <c:pt idx="342">
                  <c:v>12196791.5</c:v>
                </c:pt>
                <c:pt idx="343">
                  <c:v>13748306.583333334</c:v>
                </c:pt>
                <c:pt idx="344">
                  <c:v>14417742.75</c:v>
                </c:pt>
                <c:pt idx="345">
                  <c:v>14879543.833333334</c:v>
                </c:pt>
                <c:pt idx="346">
                  <c:v>14008917.416666666</c:v>
                </c:pt>
                <c:pt idx="347">
                  <c:v>13511279.833333334</c:v>
                </c:pt>
                <c:pt idx="348">
                  <c:v>11921489.25</c:v>
                </c:pt>
                <c:pt idx="349">
                  <c:v>11400931.666666666</c:v>
                </c:pt>
                <c:pt idx="350">
                  <c:v>12554701.333333334</c:v>
                </c:pt>
                <c:pt idx="351">
                  <c:v>13393190.916666666</c:v>
                </c:pt>
                <c:pt idx="352">
                  <c:v>13391302.166666666</c:v>
                </c:pt>
                <c:pt idx="353">
                  <c:v>13443290.5</c:v>
                </c:pt>
                <c:pt idx="354">
                  <c:v>13330219.416666666</c:v>
                </c:pt>
                <c:pt idx="355">
                  <c:v>11831693.666666666</c:v>
                </c:pt>
                <c:pt idx="356">
                  <c:v>11732049.5</c:v>
                </c:pt>
                <c:pt idx="357">
                  <c:v>13717270.083333334</c:v>
                </c:pt>
                <c:pt idx="358">
                  <c:v>13658248.416666666</c:v>
                </c:pt>
                <c:pt idx="359">
                  <c:v>14664034.75</c:v>
                </c:pt>
                <c:pt idx="360">
                  <c:v>13916408</c:v>
                </c:pt>
                <c:pt idx="361">
                  <c:v>13562476.333333334</c:v>
                </c:pt>
                <c:pt idx="362">
                  <c:v>11596931.333333334</c:v>
                </c:pt>
                <c:pt idx="363">
                  <c:v>12401590.333333334</c:v>
                </c:pt>
                <c:pt idx="364">
                  <c:v>15612126.333333334</c:v>
                </c:pt>
                <c:pt idx="365">
                  <c:v>14983880.916666666</c:v>
                </c:pt>
                <c:pt idx="366">
                  <c:v>14225269.333333334</c:v>
                </c:pt>
                <c:pt idx="367">
                  <c:v>15044935.916666666</c:v>
                </c:pt>
                <c:pt idx="368">
                  <c:v>14683795.166666666</c:v>
                </c:pt>
                <c:pt idx="369">
                  <c:v>12088508.666666666</c:v>
                </c:pt>
                <c:pt idx="370">
                  <c:v>12271697</c:v>
                </c:pt>
                <c:pt idx="371">
                  <c:v>14021359.583333334</c:v>
                </c:pt>
                <c:pt idx="372">
                  <c:v>13500665</c:v>
                </c:pt>
                <c:pt idx="373">
                  <c:v>14440684.333333334</c:v>
                </c:pt>
                <c:pt idx="374">
                  <c:v>13611805.333333334</c:v>
                </c:pt>
                <c:pt idx="375">
                  <c:v>12763189.416666666</c:v>
                </c:pt>
                <c:pt idx="376">
                  <c:v>11675806</c:v>
                </c:pt>
                <c:pt idx="377">
                  <c:v>11450943</c:v>
                </c:pt>
                <c:pt idx="378">
                  <c:v>13627318.583333334</c:v>
                </c:pt>
                <c:pt idx="379">
                  <c:v>13581008.166666666</c:v>
                </c:pt>
                <c:pt idx="380">
                  <c:v>12895340</c:v>
                </c:pt>
                <c:pt idx="381">
                  <c:v>13257114.75</c:v>
                </c:pt>
                <c:pt idx="382">
                  <c:v>12453343.5</c:v>
                </c:pt>
                <c:pt idx="383">
                  <c:v>11332646.333333334</c:v>
                </c:pt>
                <c:pt idx="384">
                  <c:v>11133378.083333334</c:v>
                </c:pt>
                <c:pt idx="385">
                  <c:v>8069770.583333333</c:v>
                </c:pt>
                <c:pt idx="386">
                  <c:v>11932565.083333334</c:v>
                </c:pt>
                <c:pt idx="387">
                  <c:v>11849433.75</c:v>
                </c:pt>
                <c:pt idx="388">
                  <c:v>13174896.916666666</c:v>
                </c:pt>
                <c:pt idx="389">
                  <c:v>12722802.75</c:v>
                </c:pt>
                <c:pt idx="390">
                  <c:v>12743977.833333334</c:v>
                </c:pt>
                <c:pt idx="391">
                  <c:v>12384655.25</c:v>
                </c:pt>
                <c:pt idx="392">
                  <c:v>13520436.75</c:v>
                </c:pt>
                <c:pt idx="393">
                  <c:v>13430063.833333334</c:v>
                </c:pt>
                <c:pt idx="394">
                  <c:v>13402302.166666666</c:v>
                </c:pt>
                <c:pt idx="395">
                  <c:v>13878109</c:v>
                </c:pt>
                <c:pt idx="396">
                  <c:v>13114740.416666666</c:v>
                </c:pt>
                <c:pt idx="397">
                  <c:v>12566025</c:v>
                </c:pt>
                <c:pt idx="398">
                  <c:v>11780181.333333334</c:v>
                </c:pt>
                <c:pt idx="399">
                  <c:v>13717379.666666666</c:v>
                </c:pt>
                <c:pt idx="400">
                  <c:v>14178398.166666666</c:v>
                </c:pt>
                <c:pt idx="401">
                  <c:v>14353757</c:v>
                </c:pt>
                <c:pt idx="402">
                  <c:v>14711870.416666666</c:v>
                </c:pt>
                <c:pt idx="403">
                  <c:v>14421721.25</c:v>
                </c:pt>
                <c:pt idx="404">
                  <c:v>12326797.75</c:v>
                </c:pt>
                <c:pt idx="405">
                  <c:v>12135547.333333334</c:v>
                </c:pt>
                <c:pt idx="406">
                  <c:v>14622809.416666666</c:v>
                </c:pt>
                <c:pt idx="407">
                  <c:v>14490216.75</c:v>
                </c:pt>
                <c:pt idx="408">
                  <c:v>13628436.666666666</c:v>
                </c:pt>
                <c:pt idx="409">
                  <c:v>13962977.583333334</c:v>
                </c:pt>
                <c:pt idx="410">
                  <c:v>13683253.5</c:v>
                </c:pt>
                <c:pt idx="411">
                  <c:v>12380495.916666666</c:v>
                </c:pt>
                <c:pt idx="412">
                  <c:v>12384709.25</c:v>
                </c:pt>
                <c:pt idx="413">
                  <c:v>13922593.333333334</c:v>
                </c:pt>
                <c:pt idx="414">
                  <c:v>14394238.333333334</c:v>
                </c:pt>
                <c:pt idx="415">
                  <c:v>14772522.333333334</c:v>
                </c:pt>
                <c:pt idx="416">
                  <c:v>14330939.666666666</c:v>
                </c:pt>
                <c:pt idx="417">
                  <c:v>14360099.416666666</c:v>
                </c:pt>
                <c:pt idx="418">
                  <c:v>12609011.75</c:v>
                </c:pt>
                <c:pt idx="419">
                  <c:v>12798316.333333334</c:v>
                </c:pt>
                <c:pt idx="420">
                  <c:v>15686558.333333334</c:v>
                </c:pt>
                <c:pt idx="421">
                  <c:v>15686520.25</c:v>
                </c:pt>
                <c:pt idx="422">
                  <c:v>16252302.333333334</c:v>
                </c:pt>
                <c:pt idx="423">
                  <c:v>16627187.333333334</c:v>
                </c:pt>
                <c:pt idx="424">
                  <c:v>15417341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59-4735-98C7-260F5D40EF62}"/>
            </c:ext>
          </c:extLst>
        </c:ser>
        <c:ser>
          <c:idx val="1"/>
          <c:order val="1"/>
          <c:tx>
            <c:strRef>
              <c:f>Table1!$J$1</c:f>
              <c:strCache>
                <c:ptCount val="1"/>
                <c:pt idx="0">
                  <c:v> IPv4 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trendline>
            <c:spPr>
              <a:ln w="25400" cap="rnd">
                <a:solidFill>
                  <a:schemeClr val="bg1">
                    <a:lumMod val="50000"/>
                  </a:schemeClr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Table1!$A$2349:$A$2773</c:f>
              <c:strCache>
                <c:ptCount val="425"/>
                <c:pt idx="0">
                  <c:v>2018-12-01</c:v>
                </c:pt>
                <c:pt idx="1">
                  <c:v>2018-12-02</c:v>
                </c:pt>
                <c:pt idx="2">
                  <c:v>2018-12-03</c:v>
                </c:pt>
                <c:pt idx="3">
                  <c:v>2018-12-04</c:v>
                </c:pt>
                <c:pt idx="4">
                  <c:v>2018-12-05</c:v>
                </c:pt>
                <c:pt idx="5">
                  <c:v>2018-12-06</c:v>
                </c:pt>
                <c:pt idx="6">
                  <c:v>2018-12-07</c:v>
                </c:pt>
                <c:pt idx="7">
                  <c:v>2018-12-08</c:v>
                </c:pt>
                <c:pt idx="8">
                  <c:v>2018-12-09</c:v>
                </c:pt>
                <c:pt idx="9">
                  <c:v>2018-12-10</c:v>
                </c:pt>
                <c:pt idx="10">
                  <c:v>2018-12-11</c:v>
                </c:pt>
                <c:pt idx="11">
                  <c:v>2018-12-12</c:v>
                </c:pt>
                <c:pt idx="12">
                  <c:v>2018-12-13</c:v>
                </c:pt>
                <c:pt idx="13">
                  <c:v>2018-12-14</c:v>
                </c:pt>
                <c:pt idx="14">
                  <c:v>2018-12-15</c:v>
                </c:pt>
                <c:pt idx="15">
                  <c:v>2018-12-16</c:v>
                </c:pt>
                <c:pt idx="16">
                  <c:v>2018-12-17</c:v>
                </c:pt>
                <c:pt idx="17">
                  <c:v>2018-12-18</c:v>
                </c:pt>
                <c:pt idx="18">
                  <c:v>2018-12-19</c:v>
                </c:pt>
                <c:pt idx="19">
                  <c:v>2018-12-20</c:v>
                </c:pt>
                <c:pt idx="20">
                  <c:v>2018-12-21</c:v>
                </c:pt>
                <c:pt idx="21">
                  <c:v>2018-12-22</c:v>
                </c:pt>
                <c:pt idx="22">
                  <c:v>2018-12-23</c:v>
                </c:pt>
                <c:pt idx="23">
                  <c:v>2018-12-24</c:v>
                </c:pt>
                <c:pt idx="24">
                  <c:v>2018-12-25</c:v>
                </c:pt>
                <c:pt idx="25">
                  <c:v>2018-12-26</c:v>
                </c:pt>
                <c:pt idx="26">
                  <c:v>2018-12-27</c:v>
                </c:pt>
                <c:pt idx="27">
                  <c:v>2018-12-28</c:v>
                </c:pt>
                <c:pt idx="28">
                  <c:v>2018-12-29</c:v>
                </c:pt>
                <c:pt idx="29">
                  <c:v>2018-12-30</c:v>
                </c:pt>
                <c:pt idx="30">
                  <c:v>2018-12-31</c:v>
                </c:pt>
                <c:pt idx="31">
                  <c:v>2019-01-01</c:v>
                </c:pt>
                <c:pt idx="32">
                  <c:v>2019-01-02</c:v>
                </c:pt>
                <c:pt idx="33">
                  <c:v>2019-01-03</c:v>
                </c:pt>
                <c:pt idx="34">
                  <c:v>2019-01-04</c:v>
                </c:pt>
                <c:pt idx="35">
                  <c:v>2019-01-05</c:v>
                </c:pt>
                <c:pt idx="36">
                  <c:v>2019-01-06</c:v>
                </c:pt>
                <c:pt idx="37">
                  <c:v>2019-01-07</c:v>
                </c:pt>
                <c:pt idx="38">
                  <c:v>2019-01-08</c:v>
                </c:pt>
                <c:pt idx="39">
                  <c:v>2019-01-09</c:v>
                </c:pt>
                <c:pt idx="40">
                  <c:v>2019-01-10</c:v>
                </c:pt>
                <c:pt idx="41">
                  <c:v>2019-01-11</c:v>
                </c:pt>
                <c:pt idx="42">
                  <c:v>2019-01-12</c:v>
                </c:pt>
                <c:pt idx="43">
                  <c:v>2019-01-13</c:v>
                </c:pt>
                <c:pt idx="44">
                  <c:v>2019-01-14</c:v>
                </c:pt>
                <c:pt idx="45">
                  <c:v>2019-01-15</c:v>
                </c:pt>
                <c:pt idx="46">
                  <c:v>2019-01-16</c:v>
                </c:pt>
                <c:pt idx="47">
                  <c:v>2019-01-17</c:v>
                </c:pt>
                <c:pt idx="48">
                  <c:v>2019-01-18</c:v>
                </c:pt>
                <c:pt idx="49">
                  <c:v>2019-01-19</c:v>
                </c:pt>
                <c:pt idx="50">
                  <c:v>2019-01-20</c:v>
                </c:pt>
                <c:pt idx="51">
                  <c:v>2019-01-21</c:v>
                </c:pt>
                <c:pt idx="52">
                  <c:v>2019-01-22</c:v>
                </c:pt>
                <c:pt idx="53">
                  <c:v>2019-01-23</c:v>
                </c:pt>
                <c:pt idx="54">
                  <c:v>2019-01-24</c:v>
                </c:pt>
                <c:pt idx="55">
                  <c:v>2019-01-25</c:v>
                </c:pt>
                <c:pt idx="56">
                  <c:v>2019-01-26</c:v>
                </c:pt>
                <c:pt idx="57">
                  <c:v>2019-01-27</c:v>
                </c:pt>
                <c:pt idx="58">
                  <c:v>2019-01-28</c:v>
                </c:pt>
                <c:pt idx="59">
                  <c:v>2019-01-29</c:v>
                </c:pt>
                <c:pt idx="60">
                  <c:v>2019-01-30</c:v>
                </c:pt>
                <c:pt idx="61">
                  <c:v>2019-01-31</c:v>
                </c:pt>
                <c:pt idx="62">
                  <c:v>2019-02-01</c:v>
                </c:pt>
                <c:pt idx="63">
                  <c:v>2019-02-02</c:v>
                </c:pt>
                <c:pt idx="64">
                  <c:v>2019-02-03</c:v>
                </c:pt>
                <c:pt idx="65">
                  <c:v>2019-02-04</c:v>
                </c:pt>
                <c:pt idx="66">
                  <c:v>2019-02-05</c:v>
                </c:pt>
                <c:pt idx="67">
                  <c:v>2019-02-06</c:v>
                </c:pt>
                <c:pt idx="68">
                  <c:v>2019-02-07</c:v>
                </c:pt>
                <c:pt idx="69">
                  <c:v>2019-02-08</c:v>
                </c:pt>
                <c:pt idx="70">
                  <c:v>2019-02-09</c:v>
                </c:pt>
                <c:pt idx="71">
                  <c:v>2019-02-10</c:v>
                </c:pt>
                <c:pt idx="72">
                  <c:v>2019-02-11</c:v>
                </c:pt>
                <c:pt idx="73">
                  <c:v>2019-02-12</c:v>
                </c:pt>
                <c:pt idx="74">
                  <c:v>2019-02-13</c:v>
                </c:pt>
                <c:pt idx="75">
                  <c:v>2019-02-14</c:v>
                </c:pt>
                <c:pt idx="76">
                  <c:v>2019-02-15</c:v>
                </c:pt>
                <c:pt idx="77">
                  <c:v>2019-02-16</c:v>
                </c:pt>
                <c:pt idx="78">
                  <c:v>2019-02-17</c:v>
                </c:pt>
                <c:pt idx="79">
                  <c:v>2019-02-18</c:v>
                </c:pt>
                <c:pt idx="80">
                  <c:v>2019-02-19</c:v>
                </c:pt>
                <c:pt idx="81">
                  <c:v>2019-02-20</c:v>
                </c:pt>
                <c:pt idx="82">
                  <c:v>2019-02-21</c:v>
                </c:pt>
                <c:pt idx="83">
                  <c:v>2019-02-22</c:v>
                </c:pt>
                <c:pt idx="84">
                  <c:v>2019-02-23</c:v>
                </c:pt>
                <c:pt idx="85">
                  <c:v>2019-02-24</c:v>
                </c:pt>
                <c:pt idx="86">
                  <c:v>2019-02-25</c:v>
                </c:pt>
                <c:pt idx="87">
                  <c:v>2019-02-26</c:v>
                </c:pt>
                <c:pt idx="88">
                  <c:v>2019-02-27</c:v>
                </c:pt>
                <c:pt idx="89">
                  <c:v>2019-02-28</c:v>
                </c:pt>
                <c:pt idx="90">
                  <c:v>2019-03-01</c:v>
                </c:pt>
                <c:pt idx="91">
                  <c:v>2019-03-02</c:v>
                </c:pt>
                <c:pt idx="92">
                  <c:v>2019-03-03</c:v>
                </c:pt>
                <c:pt idx="93">
                  <c:v>2019-03-04</c:v>
                </c:pt>
                <c:pt idx="94">
                  <c:v>2019-03-05</c:v>
                </c:pt>
                <c:pt idx="95">
                  <c:v>2019-03-06</c:v>
                </c:pt>
                <c:pt idx="96">
                  <c:v>2019-03-07</c:v>
                </c:pt>
                <c:pt idx="97">
                  <c:v>2019-03-08</c:v>
                </c:pt>
                <c:pt idx="98">
                  <c:v>2019-03-09</c:v>
                </c:pt>
                <c:pt idx="99">
                  <c:v>2019-03-10</c:v>
                </c:pt>
                <c:pt idx="100">
                  <c:v>2019-03-11</c:v>
                </c:pt>
                <c:pt idx="101">
                  <c:v>2019-03-12</c:v>
                </c:pt>
                <c:pt idx="102">
                  <c:v>2019-03-13</c:v>
                </c:pt>
                <c:pt idx="103">
                  <c:v>2019-03-14</c:v>
                </c:pt>
                <c:pt idx="104">
                  <c:v>2019-03-15</c:v>
                </c:pt>
                <c:pt idx="105">
                  <c:v>2019-03-16</c:v>
                </c:pt>
                <c:pt idx="106">
                  <c:v>2019-03-17</c:v>
                </c:pt>
                <c:pt idx="107">
                  <c:v>2019-03-18</c:v>
                </c:pt>
                <c:pt idx="108">
                  <c:v>2019-03-19</c:v>
                </c:pt>
                <c:pt idx="109">
                  <c:v>2019-03-20</c:v>
                </c:pt>
                <c:pt idx="110">
                  <c:v>2019-03-21</c:v>
                </c:pt>
                <c:pt idx="111">
                  <c:v>2019-03-22</c:v>
                </c:pt>
                <c:pt idx="112">
                  <c:v>2019-03-23</c:v>
                </c:pt>
                <c:pt idx="113">
                  <c:v>2019-03-24</c:v>
                </c:pt>
                <c:pt idx="114">
                  <c:v>2019-03-25</c:v>
                </c:pt>
                <c:pt idx="115">
                  <c:v>2019-03-26</c:v>
                </c:pt>
                <c:pt idx="116">
                  <c:v>2019-03-27</c:v>
                </c:pt>
                <c:pt idx="117">
                  <c:v>2019-03-28</c:v>
                </c:pt>
                <c:pt idx="118">
                  <c:v>2019-03-29</c:v>
                </c:pt>
                <c:pt idx="119">
                  <c:v>2019-03-30</c:v>
                </c:pt>
                <c:pt idx="120">
                  <c:v>2019-03-31</c:v>
                </c:pt>
                <c:pt idx="121">
                  <c:v>2019-04-01</c:v>
                </c:pt>
                <c:pt idx="122">
                  <c:v>2019-04-02</c:v>
                </c:pt>
                <c:pt idx="123">
                  <c:v>2019-04-03</c:v>
                </c:pt>
                <c:pt idx="124">
                  <c:v>2019-04-04</c:v>
                </c:pt>
                <c:pt idx="125">
                  <c:v>2019-04-05</c:v>
                </c:pt>
                <c:pt idx="126">
                  <c:v>2019-04-06</c:v>
                </c:pt>
                <c:pt idx="127">
                  <c:v>2019-04-07</c:v>
                </c:pt>
                <c:pt idx="128">
                  <c:v>2019-04-08</c:v>
                </c:pt>
                <c:pt idx="129">
                  <c:v>2019-04-09</c:v>
                </c:pt>
                <c:pt idx="130">
                  <c:v>2019-04-10</c:v>
                </c:pt>
                <c:pt idx="131">
                  <c:v>2019-04-11</c:v>
                </c:pt>
                <c:pt idx="132">
                  <c:v>2019-04-12</c:v>
                </c:pt>
                <c:pt idx="133">
                  <c:v>2019-04-13</c:v>
                </c:pt>
                <c:pt idx="134">
                  <c:v>2019-04-14</c:v>
                </c:pt>
                <c:pt idx="135">
                  <c:v>2019-04-15</c:v>
                </c:pt>
                <c:pt idx="136">
                  <c:v>2019-04-16</c:v>
                </c:pt>
                <c:pt idx="137">
                  <c:v>2019-04-17</c:v>
                </c:pt>
                <c:pt idx="138">
                  <c:v>2019-04-18</c:v>
                </c:pt>
                <c:pt idx="139">
                  <c:v>2019-04-19</c:v>
                </c:pt>
                <c:pt idx="140">
                  <c:v>2019-04-20</c:v>
                </c:pt>
                <c:pt idx="141">
                  <c:v>2019-04-21</c:v>
                </c:pt>
                <c:pt idx="142">
                  <c:v>2019-04-22</c:v>
                </c:pt>
                <c:pt idx="143">
                  <c:v>2019-04-23</c:v>
                </c:pt>
                <c:pt idx="144">
                  <c:v>2019-04-24</c:v>
                </c:pt>
                <c:pt idx="145">
                  <c:v>2019-04-25</c:v>
                </c:pt>
                <c:pt idx="146">
                  <c:v>2019-04-26</c:v>
                </c:pt>
                <c:pt idx="147">
                  <c:v>2019-04-27</c:v>
                </c:pt>
                <c:pt idx="148">
                  <c:v>2019-04-28</c:v>
                </c:pt>
                <c:pt idx="149">
                  <c:v>2019-04-29</c:v>
                </c:pt>
                <c:pt idx="150">
                  <c:v>2019-04-30</c:v>
                </c:pt>
                <c:pt idx="151">
                  <c:v>2019-05-01</c:v>
                </c:pt>
                <c:pt idx="152">
                  <c:v>2019-05-02</c:v>
                </c:pt>
                <c:pt idx="153">
                  <c:v>2019-05-03</c:v>
                </c:pt>
                <c:pt idx="154">
                  <c:v>2019-05-04</c:v>
                </c:pt>
                <c:pt idx="155">
                  <c:v>2019-05-05</c:v>
                </c:pt>
                <c:pt idx="156">
                  <c:v>2019-05-06</c:v>
                </c:pt>
                <c:pt idx="157">
                  <c:v>2019-05-07</c:v>
                </c:pt>
                <c:pt idx="158">
                  <c:v>2019-05-08</c:v>
                </c:pt>
                <c:pt idx="159">
                  <c:v>2019-05-09</c:v>
                </c:pt>
                <c:pt idx="160">
                  <c:v>2019-05-10</c:v>
                </c:pt>
                <c:pt idx="161">
                  <c:v>2019-05-11</c:v>
                </c:pt>
                <c:pt idx="162">
                  <c:v>2019-05-12</c:v>
                </c:pt>
                <c:pt idx="163">
                  <c:v>2019-05-13</c:v>
                </c:pt>
                <c:pt idx="164">
                  <c:v>2019-05-14</c:v>
                </c:pt>
                <c:pt idx="165">
                  <c:v>2019-05-15</c:v>
                </c:pt>
                <c:pt idx="166">
                  <c:v>2019-05-16</c:v>
                </c:pt>
                <c:pt idx="167">
                  <c:v>2019-05-17</c:v>
                </c:pt>
                <c:pt idx="168">
                  <c:v>2019-05-18</c:v>
                </c:pt>
                <c:pt idx="169">
                  <c:v>2019-05-19</c:v>
                </c:pt>
                <c:pt idx="170">
                  <c:v>2019-05-20</c:v>
                </c:pt>
                <c:pt idx="171">
                  <c:v>2019-05-21</c:v>
                </c:pt>
                <c:pt idx="172">
                  <c:v>2019-05-22</c:v>
                </c:pt>
                <c:pt idx="173">
                  <c:v>2019-05-23</c:v>
                </c:pt>
                <c:pt idx="174">
                  <c:v>2019-05-24</c:v>
                </c:pt>
                <c:pt idx="175">
                  <c:v>2019-05-25</c:v>
                </c:pt>
                <c:pt idx="176">
                  <c:v>2019-05-26</c:v>
                </c:pt>
                <c:pt idx="177">
                  <c:v>2019-05-27</c:v>
                </c:pt>
                <c:pt idx="178">
                  <c:v>2019-05-28</c:v>
                </c:pt>
                <c:pt idx="179">
                  <c:v>2019-05-29</c:v>
                </c:pt>
                <c:pt idx="180">
                  <c:v>2019-05-30</c:v>
                </c:pt>
                <c:pt idx="181">
                  <c:v>2019-05-31</c:v>
                </c:pt>
                <c:pt idx="182">
                  <c:v>2019-06-01</c:v>
                </c:pt>
                <c:pt idx="183">
                  <c:v>2019-06-02</c:v>
                </c:pt>
                <c:pt idx="184">
                  <c:v>2019-06-03</c:v>
                </c:pt>
                <c:pt idx="185">
                  <c:v>2019-06-04</c:v>
                </c:pt>
                <c:pt idx="186">
                  <c:v>2019-06-05</c:v>
                </c:pt>
                <c:pt idx="187">
                  <c:v>2019-06-06</c:v>
                </c:pt>
                <c:pt idx="188">
                  <c:v>2019-06-07</c:v>
                </c:pt>
                <c:pt idx="189">
                  <c:v>2019-06-08</c:v>
                </c:pt>
                <c:pt idx="190">
                  <c:v>2019-06-09</c:v>
                </c:pt>
                <c:pt idx="191">
                  <c:v>2019-06-10</c:v>
                </c:pt>
                <c:pt idx="192">
                  <c:v>2019-06-11</c:v>
                </c:pt>
                <c:pt idx="193">
                  <c:v>2019-06-12</c:v>
                </c:pt>
                <c:pt idx="194">
                  <c:v>2019-06-13</c:v>
                </c:pt>
                <c:pt idx="195">
                  <c:v>2019-06-14</c:v>
                </c:pt>
                <c:pt idx="196">
                  <c:v>2019-06-15</c:v>
                </c:pt>
                <c:pt idx="197">
                  <c:v>2019-06-16</c:v>
                </c:pt>
                <c:pt idx="198">
                  <c:v>2019-06-17</c:v>
                </c:pt>
                <c:pt idx="199">
                  <c:v>2019-06-18</c:v>
                </c:pt>
                <c:pt idx="200">
                  <c:v>2019-06-19</c:v>
                </c:pt>
                <c:pt idx="201">
                  <c:v>2019-06-20</c:v>
                </c:pt>
                <c:pt idx="202">
                  <c:v>2019-06-21</c:v>
                </c:pt>
                <c:pt idx="203">
                  <c:v>2019-06-22</c:v>
                </c:pt>
                <c:pt idx="204">
                  <c:v>2019-06-23</c:v>
                </c:pt>
                <c:pt idx="205">
                  <c:v>2019-06-24</c:v>
                </c:pt>
                <c:pt idx="206">
                  <c:v>2019-06-25</c:v>
                </c:pt>
                <c:pt idx="207">
                  <c:v>2019-06-26</c:v>
                </c:pt>
                <c:pt idx="208">
                  <c:v>2019-06-27</c:v>
                </c:pt>
                <c:pt idx="209">
                  <c:v>2019-06-28</c:v>
                </c:pt>
                <c:pt idx="210">
                  <c:v>2019-06-29</c:v>
                </c:pt>
                <c:pt idx="211">
                  <c:v>2019-06-30</c:v>
                </c:pt>
                <c:pt idx="212">
                  <c:v>2019-07-01</c:v>
                </c:pt>
                <c:pt idx="213">
                  <c:v>2019-07-02</c:v>
                </c:pt>
                <c:pt idx="214">
                  <c:v>2019-07-03</c:v>
                </c:pt>
                <c:pt idx="215">
                  <c:v>2019-07-04</c:v>
                </c:pt>
                <c:pt idx="216">
                  <c:v>2019-07-05</c:v>
                </c:pt>
                <c:pt idx="217">
                  <c:v>2019-07-06</c:v>
                </c:pt>
                <c:pt idx="218">
                  <c:v>2019-07-07</c:v>
                </c:pt>
                <c:pt idx="219">
                  <c:v>2019-07-08</c:v>
                </c:pt>
                <c:pt idx="220">
                  <c:v>2019-07-09</c:v>
                </c:pt>
                <c:pt idx="221">
                  <c:v>2019-07-10</c:v>
                </c:pt>
                <c:pt idx="222">
                  <c:v>2019-07-11</c:v>
                </c:pt>
                <c:pt idx="223">
                  <c:v>2019-07-12</c:v>
                </c:pt>
                <c:pt idx="224">
                  <c:v>2019-07-13</c:v>
                </c:pt>
                <c:pt idx="225">
                  <c:v>2019-07-14</c:v>
                </c:pt>
                <c:pt idx="226">
                  <c:v>2019-07-15</c:v>
                </c:pt>
                <c:pt idx="227">
                  <c:v>2019-07-16</c:v>
                </c:pt>
                <c:pt idx="228">
                  <c:v>2019-07-17</c:v>
                </c:pt>
                <c:pt idx="229">
                  <c:v>2019-07-18</c:v>
                </c:pt>
                <c:pt idx="230">
                  <c:v>2019-07-19</c:v>
                </c:pt>
                <c:pt idx="231">
                  <c:v>2019-07-20</c:v>
                </c:pt>
                <c:pt idx="232">
                  <c:v>2019-07-21</c:v>
                </c:pt>
                <c:pt idx="233">
                  <c:v>2019-07-22</c:v>
                </c:pt>
                <c:pt idx="234">
                  <c:v>2019-07-23</c:v>
                </c:pt>
                <c:pt idx="235">
                  <c:v>2019-07-24</c:v>
                </c:pt>
                <c:pt idx="236">
                  <c:v>2019-07-25</c:v>
                </c:pt>
                <c:pt idx="237">
                  <c:v>2019-07-26</c:v>
                </c:pt>
                <c:pt idx="238">
                  <c:v>2019-07-27</c:v>
                </c:pt>
                <c:pt idx="239">
                  <c:v>2019-07-28</c:v>
                </c:pt>
                <c:pt idx="240">
                  <c:v>2019-07-29</c:v>
                </c:pt>
                <c:pt idx="241">
                  <c:v>2019-07-30</c:v>
                </c:pt>
                <c:pt idx="242">
                  <c:v>2019-07-31</c:v>
                </c:pt>
                <c:pt idx="243">
                  <c:v>2019-08-01</c:v>
                </c:pt>
                <c:pt idx="244">
                  <c:v>2019-08-02</c:v>
                </c:pt>
                <c:pt idx="245">
                  <c:v>2019-08-03</c:v>
                </c:pt>
                <c:pt idx="246">
                  <c:v>2019-08-04</c:v>
                </c:pt>
                <c:pt idx="247">
                  <c:v>2019-08-05</c:v>
                </c:pt>
                <c:pt idx="248">
                  <c:v>2019-08-06</c:v>
                </c:pt>
                <c:pt idx="249">
                  <c:v>2019-08-07</c:v>
                </c:pt>
                <c:pt idx="250">
                  <c:v>2019-08-08</c:v>
                </c:pt>
                <c:pt idx="251">
                  <c:v>2019-08-09</c:v>
                </c:pt>
                <c:pt idx="252">
                  <c:v>2019-08-10</c:v>
                </c:pt>
                <c:pt idx="253">
                  <c:v>2019-08-11</c:v>
                </c:pt>
                <c:pt idx="254">
                  <c:v>2019-08-12</c:v>
                </c:pt>
                <c:pt idx="255">
                  <c:v>2019-08-13</c:v>
                </c:pt>
                <c:pt idx="256">
                  <c:v>2019-08-14</c:v>
                </c:pt>
                <c:pt idx="257">
                  <c:v>2019-08-15</c:v>
                </c:pt>
                <c:pt idx="258">
                  <c:v>2019-08-16</c:v>
                </c:pt>
                <c:pt idx="259">
                  <c:v>2019-08-17</c:v>
                </c:pt>
                <c:pt idx="260">
                  <c:v>2019-08-18</c:v>
                </c:pt>
                <c:pt idx="261">
                  <c:v>2019-08-19</c:v>
                </c:pt>
                <c:pt idx="262">
                  <c:v>2019-08-20</c:v>
                </c:pt>
                <c:pt idx="263">
                  <c:v>2019-08-21</c:v>
                </c:pt>
                <c:pt idx="264">
                  <c:v>2019-08-22</c:v>
                </c:pt>
                <c:pt idx="265">
                  <c:v>2019-08-23</c:v>
                </c:pt>
                <c:pt idx="266">
                  <c:v>2019-08-24</c:v>
                </c:pt>
                <c:pt idx="267">
                  <c:v>2019-08-25</c:v>
                </c:pt>
                <c:pt idx="268">
                  <c:v>2019-08-26</c:v>
                </c:pt>
                <c:pt idx="269">
                  <c:v>2019-08-27</c:v>
                </c:pt>
                <c:pt idx="270">
                  <c:v>2019-08-28</c:v>
                </c:pt>
                <c:pt idx="271">
                  <c:v>2019-08-29</c:v>
                </c:pt>
                <c:pt idx="272">
                  <c:v>2019-08-30</c:v>
                </c:pt>
                <c:pt idx="273">
                  <c:v>2019-08-31</c:v>
                </c:pt>
                <c:pt idx="274">
                  <c:v>2019-09-01</c:v>
                </c:pt>
                <c:pt idx="275">
                  <c:v>2019-09-02</c:v>
                </c:pt>
                <c:pt idx="276">
                  <c:v>2019-09-03</c:v>
                </c:pt>
                <c:pt idx="277">
                  <c:v>2019-09-04</c:v>
                </c:pt>
                <c:pt idx="278">
                  <c:v>2019-09-05</c:v>
                </c:pt>
                <c:pt idx="279">
                  <c:v>2019-09-06</c:v>
                </c:pt>
                <c:pt idx="280">
                  <c:v>2019-09-07</c:v>
                </c:pt>
                <c:pt idx="281">
                  <c:v>2019-09-08</c:v>
                </c:pt>
                <c:pt idx="282">
                  <c:v>2019-09-09</c:v>
                </c:pt>
                <c:pt idx="283">
                  <c:v>2019-09-10</c:v>
                </c:pt>
                <c:pt idx="284">
                  <c:v>2019-09-11</c:v>
                </c:pt>
                <c:pt idx="285">
                  <c:v>2019-09-12</c:v>
                </c:pt>
                <c:pt idx="286">
                  <c:v>2019-09-13</c:v>
                </c:pt>
                <c:pt idx="287">
                  <c:v>2019-09-14</c:v>
                </c:pt>
                <c:pt idx="288">
                  <c:v>2019-09-15</c:v>
                </c:pt>
                <c:pt idx="289">
                  <c:v>2019-09-16</c:v>
                </c:pt>
                <c:pt idx="290">
                  <c:v>2019-09-17</c:v>
                </c:pt>
                <c:pt idx="291">
                  <c:v>2019-09-18</c:v>
                </c:pt>
                <c:pt idx="292">
                  <c:v>2019-09-19</c:v>
                </c:pt>
                <c:pt idx="293">
                  <c:v>2019-09-20</c:v>
                </c:pt>
                <c:pt idx="294">
                  <c:v>2019-09-21</c:v>
                </c:pt>
                <c:pt idx="295">
                  <c:v>2019-09-22</c:v>
                </c:pt>
                <c:pt idx="296">
                  <c:v>2019-09-23</c:v>
                </c:pt>
                <c:pt idx="297">
                  <c:v>2019-09-24</c:v>
                </c:pt>
                <c:pt idx="298">
                  <c:v>2019-09-25</c:v>
                </c:pt>
                <c:pt idx="299">
                  <c:v>2019-09-26</c:v>
                </c:pt>
                <c:pt idx="300">
                  <c:v>2019-09-29</c:v>
                </c:pt>
                <c:pt idx="301">
                  <c:v>2019-09-30</c:v>
                </c:pt>
                <c:pt idx="302">
                  <c:v>2019-10-01</c:v>
                </c:pt>
                <c:pt idx="303">
                  <c:v>2019-10-02</c:v>
                </c:pt>
                <c:pt idx="304">
                  <c:v>2019-10-03</c:v>
                </c:pt>
                <c:pt idx="305">
                  <c:v>2019-10-04</c:v>
                </c:pt>
                <c:pt idx="306">
                  <c:v>2019-10-05</c:v>
                </c:pt>
                <c:pt idx="307">
                  <c:v>2019-10-06</c:v>
                </c:pt>
                <c:pt idx="308">
                  <c:v>2019-10-07</c:v>
                </c:pt>
                <c:pt idx="309">
                  <c:v>2019-10-08</c:v>
                </c:pt>
                <c:pt idx="310">
                  <c:v>2019-10-09</c:v>
                </c:pt>
                <c:pt idx="311">
                  <c:v>2019-10-10</c:v>
                </c:pt>
                <c:pt idx="312">
                  <c:v>2019-10-11</c:v>
                </c:pt>
                <c:pt idx="313">
                  <c:v>2019-10-12</c:v>
                </c:pt>
                <c:pt idx="314">
                  <c:v>2019-10-13</c:v>
                </c:pt>
                <c:pt idx="315">
                  <c:v>2019-10-14</c:v>
                </c:pt>
                <c:pt idx="316">
                  <c:v>2019-10-15</c:v>
                </c:pt>
                <c:pt idx="317">
                  <c:v>2019-10-16</c:v>
                </c:pt>
                <c:pt idx="318">
                  <c:v>2019-10-17</c:v>
                </c:pt>
                <c:pt idx="319">
                  <c:v>2019-10-18</c:v>
                </c:pt>
                <c:pt idx="320">
                  <c:v>2019-10-19</c:v>
                </c:pt>
                <c:pt idx="321">
                  <c:v>2019-10-20</c:v>
                </c:pt>
                <c:pt idx="322">
                  <c:v>2019-10-21</c:v>
                </c:pt>
                <c:pt idx="323">
                  <c:v>2019-10-22</c:v>
                </c:pt>
                <c:pt idx="324">
                  <c:v>2019-10-23</c:v>
                </c:pt>
                <c:pt idx="325">
                  <c:v>2019-10-24</c:v>
                </c:pt>
                <c:pt idx="326">
                  <c:v>2019-10-25</c:v>
                </c:pt>
                <c:pt idx="327">
                  <c:v>2019-10-26</c:v>
                </c:pt>
                <c:pt idx="328">
                  <c:v>2019-10-27</c:v>
                </c:pt>
                <c:pt idx="329">
                  <c:v>2019-10-28</c:v>
                </c:pt>
                <c:pt idx="330">
                  <c:v>2019-10-29</c:v>
                </c:pt>
                <c:pt idx="331">
                  <c:v>2019-10-30</c:v>
                </c:pt>
                <c:pt idx="332">
                  <c:v>2019-10-31</c:v>
                </c:pt>
                <c:pt idx="333">
                  <c:v>2019-11-01</c:v>
                </c:pt>
                <c:pt idx="334">
                  <c:v>2019-11-02</c:v>
                </c:pt>
                <c:pt idx="335">
                  <c:v>2019-11-03</c:v>
                </c:pt>
                <c:pt idx="336">
                  <c:v>2019-11-04</c:v>
                </c:pt>
                <c:pt idx="337">
                  <c:v>2019-11-05</c:v>
                </c:pt>
                <c:pt idx="338">
                  <c:v>2019-11-06</c:v>
                </c:pt>
                <c:pt idx="339">
                  <c:v>2019-11-07</c:v>
                </c:pt>
                <c:pt idx="340">
                  <c:v>2019-11-08</c:v>
                </c:pt>
                <c:pt idx="341">
                  <c:v>2019-11-09</c:v>
                </c:pt>
                <c:pt idx="342">
                  <c:v>2019-11-10</c:v>
                </c:pt>
                <c:pt idx="343">
                  <c:v>2019-11-11</c:v>
                </c:pt>
                <c:pt idx="344">
                  <c:v>2019-11-12</c:v>
                </c:pt>
                <c:pt idx="345">
                  <c:v>2019-11-13</c:v>
                </c:pt>
                <c:pt idx="346">
                  <c:v>2019-11-14</c:v>
                </c:pt>
                <c:pt idx="347">
                  <c:v>2019-11-15</c:v>
                </c:pt>
                <c:pt idx="348">
                  <c:v>2019-11-16</c:v>
                </c:pt>
                <c:pt idx="349">
                  <c:v>2019-11-17</c:v>
                </c:pt>
                <c:pt idx="350">
                  <c:v>2019-11-18</c:v>
                </c:pt>
                <c:pt idx="351">
                  <c:v>2019-11-19</c:v>
                </c:pt>
                <c:pt idx="352">
                  <c:v>2019-11-20</c:v>
                </c:pt>
                <c:pt idx="353">
                  <c:v>2019-11-21</c:v>
                </c:pt>
                <c:pt idx="354">
                  <c:v>2019-11-22</c:v>
                </c:pt>
                <c:pt idx="355">
                  <c:v>2019-11-23</c:v>
                </c:pt>
                <c:pt idx="356">
                  <c:v>2019-11-24</c:v>
                </c:pt>
                <c:pt idx="357">
                  <c:v>2019-11-25</c:v>
                </c:pt>
                <c:pt idx="358">
                  <c:v>2019-11-26</c:v>
                </c:pt>
                <c:pt idx="359">
                  <c:v>2019-11-27</c:v>
                </c:pt>
                <c:pt idx="360">
                  <c:v>2019-11-28</c:v>
                </c:pt>
                <c:pt idx="361">
                  <c:v>2019-11-29</c:v>
                </c:pt>
                <c:pt idx="362">
                  <c:v>2019-11-30</c:v>
                </c:pt>
                <c:pt idx="363">
                  <c:v>2019-12-01</c:v>
                </c:pt>
                <c:pt idx="364">
                  <c:v>2019-12-02</c:v>
                </c:pt>
                <c:pt idx="365">
                  <c:v>2019-12-03</c:v>
                </c:pt>
                <c:pt idx="366">
                  <c:v>2019-12-04</c:v>
                </c:pt>
                <c:pt idx="367">
                  <c:v>2019-12-05</c:v>
                </c:pt>
                <c:pt idx="368">
                  <c:v>2019-12-06</c:v>
                </c:pt>
                <c:pt idx="369">
                  <c:v>2019-12-07</c:v>
                </c:pt>
                <c:pt idx="370">
                  <c:v>2019-12-08</c:v>
                </c:pt>
                <c:pt idx="371">
                  <c:v>2019-12-09</c:v>
                </c:pt>
                <c:pt idx="372">
                  <c:v>2019-12-10</c:v>
                </c:pt>
                <c:pt idx="373">
                  <c:v>2019-12-11</c:v>
                </c:pt>
                <c:pt idx="374">
                  <c:v>2019-12-12</c:v>
                </c:pt>
                <c:pt idx="375">
                  <c:v>2019-12-13</c:v>
                </c:pt>
                <c:pt idx="376">
                  <c:v>2019-12-14</c:v>
                </c:pt>
                <c:pt idx="377">
                  <c:v>2019-12-15</c:v>
                </c:pt>
                <c:pt idx="378">
                  <c:v>2019-12-16</c:v>
                </c:pt>
                <c:pt idx="379">
                  <c:v>2019-12-17</c:v>
                </c:pt>
                <c:pt idx="380">
                  <c:v>2019-12-18</c:v>
                </c:pt>
                <c:pt idx="381">
                  <c:v>2019-12-19</c:v>
                </c:pt>
                <c:pt idx="382">
                  <c:v>2019-12-20</c:v>
                </c:pt>
                <c:pt idx="383">
                  <c:v>2019-12-21</c:v>
                </c:pt>
                <c:pt idx="384">
                  <c:v>2019-12-22</c:v>
                </c:pt>
                <c:pt idx="385">
                  <c:v>2019-12-23</c:v>
                </c:pt>
                <c:pt idx="386">
                  <c:v>2019-12-24</c:v>
                </c:pt>
                <c:pt idx="387">
                  <c:v>2019-12-25</c:v>
                </c:pt>
                <c:pt idx="388">
                  <c:v>2019-12-26</c:v>
                </c:pt>
                <c:pt idx="389">
                  <c:v>2019-12-27</c:v>
                </c:pt>
                <c:pt idx="390">
                  <c:v>2019-12-28</c:v>
                </c:pt>
                <c:pt idx="391">
                  <c:v>2019-12-29</c:v>
                </c:pt>
                <c:pt idx="392">
                  <c:v>2019-12-30</c:v>
                </c:pt>
                <c:pt idx="393">
                  <c:v>2019-12-31</c:v>
                </c:pt>
                <c:pt idx="394">
                  <c:v>2020-01-01</c:v>
                </c:pt>
                <c:pt idx="395">
                  <c:v>2020-01-02</c:v>
                </c:pt>
                <c:pt idx="396">
                  <c:v>2020-01-03</c:v>
                </c:pt>
                <c:pt idx="397">
                  <c:v>2020-01-04</c:v>
                </c:pt>
                <c:pt idx="398">
                  <c:v>2020-01-05</c:v>
                </c:pt>
                <c:pt idx="399">
                  <c:v>2020-01-06</c:v>
                </c:pt>
                <c:pt idx="400">
                  <c:v>2020-01-07</c:v>
                </c:pt>
                <c:pt idx="401">
                  <c:v>2020-01-08</c:v>
                </c:pt>
                <c:pt idx="402">
                  <c:v>2020-01-09</c:v>
                </c:pt>
                <c:pt idx="403">
                  <c:v>2020-01-10</c:v>
                </c:pt>
                <c:pt idx="404">
                  <c:v>2020-01-11</c:v>
                </c:pt>
                <c:pt idx="405">
                  <c:v>2020-01-12</c:v>
                </c:pt>
                <c:pt idx="406">
                  <c:v>2020-01-13</c:v>
                </c:pt>
                <c:pt idx="407">
                  <c:v>2020-01-14</c:v>
                </c:pt>
                <c:pt idx="408">
                  <c:v>2020-01-15</c:v>
                </c:pt>
                <c:pt idx="409">
                  <c:v>2020-01-16</c:v>
                </c:pt>
                <c:pt idx="410">
                  <c:v>2020-01-17</c:v>
                </c:pt>
                <c:pt idx="411">
                  <c:v>2020-01-18</c:v>
                </c:pt>
                <c:pt idx="412">
                  <c:v>2020-01-19</c:v>
                </c:pt>
                <c:pt idx="413">
                  <c:v>2020-01-20</c:v>
                </c:pt>
                <c:pt idx="414">
                  <c:v>2020-01-21</c:v>
                </c:pt>
                <c:pt idx="415">
                  <c:v>2020-01-22</c:v>
                </c:pt>
                <c:pt idx="416">
                  <c:v>2020-01-23</c:v>
                </c:pt>
                <c:pt idx="417">
                  <c:v>2020-01-24</c:v>
                </c:pt>
                <c:pt idx="418">
                  <c:v>2020-01-25</c:v>
                </c:pt>
                <c:pt idx="419">
                  <c:v>2020-01-26</c:v>
                </c:pt>
                <c:pt idx="420">
                  <c:v>2020-01-27</c:v>
                </c:pt>
                <c:pt idx="421">
                  <c:v>2020-01-28</c:v>
                </c:pt>
                <c:pt idx="422">
                  <c:v>2020-01-29</c:v>
                </c:pt>
                <c:pt idx="423">
                  <c:v>2020-01-30</c:v>
                </c:pt>
                <c:pt idx="424">
                  <c:v>2020-01-31</c:v>
                </c:pt>
              </c:strCache>
            </c:strRef>
          </c:cat>
          <c:val>
            <c:numRef>
              <c:f>Table1!$J$2349:$J$2773</c:f>
              <c:numCache>
                <c:formatCode>_(* #,##0_);_(* \(#,##0\);_(* "-"??_);_(@_)</c:formatCode>
                <c:ptCount val="425"/>
                <c:pt idx="0">
                  <c:v>35667237.5</c:v>
                </c:pt>
                <c:pt idx="1">
                  <c:v>34768404.75</c:v>
                </c:pt>
                <c:pt idx="2">
                  <c:v>39284550.5</c:v>
                </c:pt>
                <c:pt idx="3">
                  <c:v>38514820.666666664</c:v>
                </c:pt>
                <c:pt idx="4">
                  <c:v>40267054.666666664</c:v>
                </c:pt>
                <c:pt idx="5">
                  <c:v>39451971.25</c:v>
                </c:pt>
                <c:pt idx="6">
                  <c:v>39394267.583333336</c:v>
                </c:pt>
                <c:pt idx="7">
                  <c:v>34584065.916666664</c:v>
                </c:pt>
                <c:pt idx="8">
                  <c:v>34519216.166666664</c:v>
                </c:pt>
                <c:pt idx="9">
                  <c:v>39584103.666666664</c:v>
                </c:pt>
                <c:pt idx="10">
                  <c:v>39208831.416666664</c:v>
                </c:pt>
                <c:pt idx="11">
                  <c:v>38404704.25</c:v>
                </c:pt>
                <c:pt idx="12">
                  <c:v>41139256.833333336</c:v>
                </c:pt>
                <c:pt idx="13">
                  <c:v>42812924.916666664</c:v>
                </c:pt>
                <c:pt idx="14">
                  <c:v>38705562.916666664</c:v>
                </c:pt>
                <c:pt idx="15">
                  <c:v>37755318.833333336</c:v>
                </c:pt>
                <c:pt idx="16">
                  <c:v>39082470.166666664</c:v>
                </c:pt>
                <c:pt idx="17">
                  <c:v>32458768.916666668</c:v>
                </c:pt>
                <c:pt idx="18">
                  <c:v>32622929.75</c:v>
                </c:pt>
                <c:pt idx="19">
                  <c:v>31728144.75</c:v>
                </c:pt>
                <c:pt idx="20">
                  <c:v>31112909.583333332</c:v>
                </c:pt>
                <c:pt idx="21">
                  <c:v>27119439.75</c:v>
                </c:pt>
                <c:pt idx="22">
                  <c:v>26991416.25</c:v>
                </c:pt>
                <c:pt idx="23">
                  <c:v>27223808.083333332</c:v>
                </c:pt>
                <c:pt idx="24">
                  <c:v>26293721.166666668</c:v>
                </c:pt>
                <c:pt idx="25">
                  <c:v>29101343.833333332</c:v>
                </c:pt>
                <c:pt idx="26">
                  <c:v>29258068.666666668</c:v>
                </c:pt>
                <c:pt idx="27">
                  <c:v>29348584.416666668</c:v>
                </c:pt>
                <c:pt idx="28">
                  <c:v>28279079.083333332</c:v>
                </c:pt>
                <c:pt idx="29">
                  <c:v>25943635</c:v>
                </c:pt>
                <c:pt idx="30">
                  <c:v>26755249.583333332</c:v>
                </c:pt>
                <c:pt idx="31">
                  <c:v>26225256.416666668</c:v>
                </c:pt>
                <c:pt idx="32">
                  <c:v>29598401.833333332</c:v>
                </c:pt>
                <c:pt idx="33">
                  <c:v>30178455</c:v>
                </c:pt>
                <c:pt idx="34">
                  <c:v>29522723.5</c:v>
                </c:pt>
                <c:pt idx="35">
                  <c:v>27622128.583333332</c:v>
                </c:pt>
                <c:pt idx="36">
                  <c:v>26631350.416666668</c:v>
                </c:pt>
                <c:pt idx="37">
                  <c:v>31561672.75</c:v>
                </c:pt>
                <c:pt idx="38">
                  <c:v>32480772.083333332</c:v>
                </c:pt>
                <c:pt idx="39">
                  <c:v>30198179.25</c:v>
                </c:pt>
                <c:pt idx="40">
                  <c:v>28808392.583333332</c:v>
                </c:pt>
                <c:pt idx="41">
                  <c:v>32503243.5</c:v>
                </c:pt>
                <c:pt idx="42">
                  <c:v>30737612.75</c:v>
                </c:pt>
                <c:pt idx="43">
                  <c:v>30536961.5</c:v>
                </c:pt>
                <c:pt idx="44">
                  <c:v>35434089</c:v>
                </c:pt>
                <c:pt idx="45">
                  <c:v>36585767.75</c:v>
                </c:pt>
                <c:pt idx="46">
                  <c:v>32867775.333333332</c:v>
                </c:pt>
                <c:pt idx="47">
                  <c:v>28141411.666666668</c:v>
                </c:pt>
                <c:pt idx="48">
                  <c:v>28461063.666666668</c:v>
                </c:pt>
                <c:pt idx="49">
                  <c:v>26413117.166666668</c:v>
                </c:pt>
                <c:pt idx="50">
                  <c:v>25266997.916666668</c:v>
                </c:pt>
                <c:pt idx="51">
                  <c:v>30435712.416666668</c:v>
                </c:pt>
                <c:pt idx="52">
                  <c:v>31112776.333333332</c:v>
                </c:pt>
                <c:pt idx="53">
                  <c:v>31306428.75</c:v>
                </c:pt>
                <c:pt idx="54">
                  <c:v>31207279.5</c:v>
                </c:pt>
                <c:pt idx="55">
                  <c:v>30623208.833333332</c:v>
                </c:pt>
                <c:pt idx="56">
                  <c:v>26980692.666666668</c:v>
                </c:pt>
                <c:pt idx="57">
                  <c:v>26409479.75</c:v>
                </c:pt>
                <c:pt idx="58">
                  <c:v>30359023.833333332</c:v>
                </c:pt>
                <c:pt idx="59">
                  <c:v>31018689.166666668</c:v>
                </c:pt>
                <c:pt idx="60">
                  <c:v>30574919.583333332</c:v>
                </c:pt>
                <c:pt idx="61">
                  <c:v>30830782.5</c:v>
                </c:pt>
                <c:pt idx="62">
                  <c:v>31140079.833333332</c:v>
                </c:pt>
                <c:pt idx="63">
                  <c:v>27186180.666666668</c:v>
                </c:pt>
                <c:pt idx="64">
                  <c:v>26040894.416666668</c:v>
                </c:pt>
                <c:pt idx="65">
                  <c:v>26984206.083333332</c:v>
                </c:pt>
                <c:pt idx="66">
                  <c:v>29575952.333333332</c:v>
                </c:pt>
                <c:pt idx="67">
                  <c:v>29632787.666666668</c:v>
                </c:pt>
                <c:pt idx="68">
                  <c:v>29459847.083333332</c:v>
                </c:pt>
                <c:pt idx="69">
                  <c:v>29370061.583333332</c:v>
                </c:pt>
                <c:pt idx="70">
                  <c:v>26993302.25</c:v>
                </c:pt>
                <c:pt idx="71">
                  <c:v>27852272.583333332</c:v>
                </c:pt>
                <c:pt idx="72">
                  <c:v>35025498.833333336</c:v>
                </c:pt>
                <c:pt idx="73">
                  <c:v>34633171.083333336</c:v>
                </c:pt>
                <c:pt idx="74">
                  <c:v>34191470.833333336</c:v>
                </c:pt>
                <c:pt idx="75">
                  <c:v>35596486.5</c:v>
                </c:pt>
                <c:pt idx="76">
                  <c:v>36145435.916666664</c:v>
                </c:pt>
                <c:pt idx="77">
                  <c:v>31405133.666666668</c:v>
                </c:pt>
                <c:pt idx="78">
                  <c:v>30437827.916666668</c:v>
                </c:pt>
                <c:pt idx="79">
                  <c:v>33626000.583333336</c:v>
                </c:pt>
                <c:pt idx="80">
                  <c:v>32760239.083333332</c:v>
                </c:pt>
                <c:pt idx="81">
                  <c:v>32199092.583333332</c:v>
                </c:pt>
                <c:pt idx="82">
                  <c:v>34636794.666666664</c:v>
                </c:pt>
                <c:pt idx="83">
                  <c:v>34160646.75</c:v>
                </c:pt>
                <c:pt idx="84">
                  <c:v>30571670.583333332</c:v>
                </c:pt>
                <c:pt idx="85">
                  <c:v>29298635.666666668</c:v>
                </c:pt>
                <c:pt idx="86">
                  <c:v>32299295.25</c:v>
                </c:pt>
                <c:pt idx="87">
                  <c:v>32597802.833333332</c:v>
                </c:pt>
                <c:pt idx="88">
                  <c:v>32915848.333333332</c:v>
                </c:pt>
                <c:pt idx="89">
                  <c:v>32197639.25</c:v>
                </c:pt>
                <c:pt idx="90">
                  <c:v>32197639.25</c:v>
                </c:pt>
                <c:pt idx="91">
                  <c:v>29494887.416666668</c:v>
                </c:pt>
                <c:pt idx="92">
                  <c:v>29248488.416666668</c:v>
                </c:pt>
                <c:pt idx="93">
                  <c:v>34159013.833333336</c:v>
                </c:pt>
                <c:pt idx="94">
                  <c:v>34209040.25</c:v>
                </c:pt>
                <c:pt idx="95">
                  <c:v>28426946.333333332</c:v>
                </c:pt>
                <c:pt idx="96">
                  <c:v>28703825.583333332</c:v>
                </c:pt>
                <c:pt idx="97">
                  <c:v>27930288</c:v>
                </c:pt>
                <c:pt idx="98">
                  <c:v>28529054.75</c:v>
                </c:pt>
                <c:pt idx="99">
                  <c:v>31457951.916666668</c:v>
                </c:pt>
                <c:pt idx="100">
                  <c:v>36043351.333333336</c:v>
                </c:pt>
                <c:pt idx="101">
                  <c:v>38401476.333333336</c:v>
                </c:pt>
                <c:pt idx="102">
                  <c:v>36770119.25</c:v>
                </c:pt>
                <c:pt idx="103">
                  <c:v>37109955.666666664</c:v>
                </c:pt>
                <c:pt idx="104">
                  <c:v>37324388.333333336</c:v>
                </c:pt>
                <c:pt idx="105">
                  <c:v>32067545.166666668</c:v>
                </c:pt>
                <c:pt idx="106">
                  <c:v>31225247.583333332</c:v>
                </c:pt>
                <c:pt idx="107">
                  <c:v>34715637.333333336</c:v>
                </c:pt>
                <c:pt idx="108">
                  <c:v>36889540.916666664</c:v>
                </c:pt>
                <c:pt idx="109">
                  <c:v>37098393.333333336</c:v>
                </c:pt>
                <c:pt idx="110">
                  <c:v>35507523.083333336</c:v>
                </c:pt>
                <c:pt idx="111">
                  <c:v>34410718.166666664</c:v>
                </c:pt>
                <c:pt idx="112">
                  <c:v>30895137.333333332</c:v>
                </c:pt>
                <c:pt idx="113">
                  <c:v>30602113.75</c:v>
                </c:pt>
                <c:pt idx="114">
                  <c:v>34801067.583333336</c:v>
                </c:pt>
                <c:pt idx="115">
                  <c:v>34260160.75</c:v>
                </c:pt>
                <c:pt idx="116">
                  <c:v>34745897.833333336</c:v>
                </c:pt>
                <c:pt idx="117">
                  <c:v>34671875</c:v>
                </c:pt>
                <c:pt idx="118">
                  <c:v>34282753.583333336</c:v>
                </c:pt>
                <c:pt idx="119">
                  <c:v>30767558.916666668</c:v>
                </c:pt>
                <c:pt idx="120">
                  <c:v>30897461.666666668</c:v>
                </c:pt>
                <c:pt idx="121">
                  <c:v>34667257.416666664</c:v>
                </c:pt>
                <c:pt idx="122">
                  <c:v>34171241.083333336</c:v>
                </c:pt>
                <c:pt idx="123">
                  <c:v>34197907</c:v>
                </c:pt>
                <c:pt idx="124">
                  <c:v>35984741.25</c:v>
                </c:pt>
                <c:pt idx="125">
                  <c:v>34791333.916666664</c:v>
                </c:pt>
                <c:pt idx="126">
                  <c:v>31929677.166666668</c:v>
                </c:pt>
                <c:pt idx="127">
                  <c:v>29122458</c:v>
                </c:pt>
                <c:pt idx="128">
                  <c:v>34486235.666666664</c:v>
                </c:pt>
                <c:pt idx="129">
                  <c:v>34658958.333333336</c:v>
                </c:pt>
                <c:pt idx="130">
                  <c:v>33617432.083333336</c:v>
                </c:pt>
                <c:pt idx="131">
                  <c:v>33000591.416666668</c:v>
                </c:pt>
                <c:pt idx="132">
                  <c:v>33150744.666666668</c:v>
                </c:pt>
                <c:pt idx="133">
                  <c:v>30585807.666666668</c:v>
                </c:pt>
                <c:pt idx="134">
                  <c:v>29869019.166666668</c:v>
                </c:pt>
                <c:pt idx="135">
                  <c:v>33286470.166666668</c:v>
                </c:pt>
                <c:pt idx="136">
                  <c:v>33250455.333333332</c:v>
                </c:pt>
                <c:pt idx="137">
                  <c:v>32918902</c:v>
                </c:pt>
                <c:pt idx="138">
                  <c:v>31393522.166666668</c:v>
                </c:pt>
                <c:pt idx="139">
                  <c:v>29366763.5</c:v>
                </c:pt>
                <c:pt idx="140">
                  <c:v>28518336.916666668</c:v>
                </c:pt>
                <c:pt idx="141">
                  <c:v>28164764.25</c:v>
                </c:pt>
                <c:pt idx="142">
                  <c:v>31557952</c:v>
                </c:pt>
                <c:pt idx="143">
                  <c:v>32222317.916666668</c:v>
                </c:pt>
                <c:pt idx="144">
                  <c:v>32616937.166666668</c:v>
                </c:pt>
                <c:pt idx="145">
                  <c:v>32894676.5</c:v>
                </c:pt>
                <c:pt idx="146">
                  <c:v>26883017.166666668</c:v>
                </c:pt>
                <c:pt idx="147">
                  <c:v>24218453.166666668</c:v>
                </c:pt>
                <c:pt idx="148">
                  <c:v>23731463.916666668</c:v>
                </c:pt>
                <c:pt idx="149">
                  <c:v>26903639.083333332</c:v>
                </c:pt>
                <c:pt idx="150">
                  <c:v>26279560.583333332</c:v>
                </c:pt>
                <c:pt idx="151">
                  <c:v>24913534.916666668</c:v>
                </c:pt>
                <c:pt idx="152">
                  <c:v>27722040.583333332</c:v>
                </c:pt>
                <c:pt idx="153">
                  <c:v>27649834.5</c:v>
                </c:pt>
                <c:pt idx="154">
                  <c:v>23668469</c:v>
                </c:pt>
                <c:pt idx="155">
                  <c:v>23664549.5</c:v>
                </c:pt>
                <c:pt idx="156">
                  <c:v>26541725.083333332</c:v>
                </c:pt>
                <c:pt idx="157">
                  <c:v>26503091</c:v>
                </c:pt>
                <c:pt idx="158">
                  <c:v>27180414.916666668</c:v>
                </c:pt>
                <c:pt idx="159">
                  <c:v>26862983.333333332</c:v>
                </c:pt>
                <c:pt idx="160">
                  <c:v>26983732.666666668</c:v>
                </c:pt>
                <c:pt idx="161">
                  <c:v>24680529.333333332</c:v>
                </c:pt>
                <c:pt idx="162">
                  <c:v>24015384.583333332</c:v>
                </c:pt>
                <c:pt idx="163">
                  <c:v>27230110.666666668</c:v>
                </c:pt>
                <c:pt idx="164">
                  <c:v>27068587.583333332</c:v>
                </c:pt>
                <c:pt idx="165">
                  <c:v>31327558.25</c:v>
                </c:pt>
                <c:pt idx="166">
                  <c:v>33045161.5</c:v>
                </c:pt>
                <c:pt idx="167">
                  <c:v>32260469</c:v>
                </c:pt>
                <c:pt idx="168">
                  <c:v>28803131.75</c:v>
                </c:pt>
                <c:pt idx="169">
                  <c:v>29184173</c:v>
                </c:pt>
                <c:pt idx="170">
                  <c:v>44845439.75</c:v>
                </c:pt>
                <c:pt idx="171">
                  <c:v>33345723.25</c:v>
                </c:pt>
                <c:pt idx="172">
                  <c:v>32721011.916666668</c:v>
                </c:pt>
                <c:pt idx="173">
                  <c:v>32596481.416666668</c:v>
                </c:pt>
                <c:pt idx="174">
                  <c:v>31896600.916666668</c:v>
                </c:pt>
                <c:pt idx="175">
                  <c:v>28951802.333333332</c:v>
                </c:pt>
                <c:pt idx="176">
                  <c:v>28993105.916666668</c:v>
                </c:pt>
                <c:pt idx="177">
                  <c:v>32634376.916666668</c:v>
                </c:pt>
                <c:pt idx="178">
                  <c:v>33117810.5</c:v>
                </c:pt>
                <c:pt idx="179">
                  <c:v>32621898.75</c:v>
                </c:pt>
                <c:pt idx="180">
                  <c:v>32976921.75</c:v>
                </c:pt>
                <c:pt idx="181">
                  <c:v>33065826.833333332</c:v>
                </c:pt>
                <c:pt idx="182">
                  <c:v>29441266.5</c:v>
                </c:pt>
                <c:pt idx="183">
                  <c:v>28232980.083333332</c:v>
                </c:pt>
                <c:pt idx="184">
                  <c:v>33758302.5</c:v>
                </c:pt>
                <c:pt idx="185">
                  <c:v>35345470.166666664</c:v>
                </c:pt>
                <c:pt idx="186">
                  <c:v>36193362.5</c:v>
                </c:pt>
                <c:pt idx="187">
                  <c:v>34723195.916666664</c:v>
                </c:pt>
                <c:pt idx="188">
                  <c:v>34640938.916666664</c:v>
                </c:pt>
                <c:pt idx="189">
                  <c:v>31902372.083333332</c:v>
                </c:pt>
                <c:pt idx="190">
                  <c:v>30607171.916666668</c:v>
                </c:pt>
                <c:pt idx="191">
                  <c:v>34656158</c:v>
                </c:pt>
                <c:pt idx="192">
                  <c:v>35160670.166666664</c:v>
                </c:pt>
                <c:pt idx="193">
                  <c:v>35041973.25</c:v>
                </c:pt>
                <c:pt idx="194">
                  <c:v>36019778.333333336</c:v>
                </c:pt>
                <c:pt idx="195">
                  <c:v>31824039.166666668</c:v>
                </c:pt>
                <c:pt idx="196">
                  <c:v>29911278.333333332</c:v>
                </c:pt>
                <c:pt idx="197">
                  <c:v>28152997.583333332</c:v>
                </c:pt>
                <c:pt idx="198">
                  <c:v>31847231.75</c:v>
                </c:pt>
                <c:pt idx="199">
                  <c:v>32116046.833333332</c:v>
                </c:pt>
                <c:pt idx="200">
                  <c:v>33333274.583333332</c:v>
                </c:pt>
                <c:pt idx="201">
                  <c:v>32498163.833333332</c:v>
                </c:pt>
                <c:pt idx="202">
                  <c:v>31657504.833333332</c:v>
                </c:pt>
                <c:pt idx="203">
                  <c:v>28799416.583333332</c:v>
                </c:pt>
                <c:pt idx="204">
                  <c:v>28437562.166666668</c:v>
                </c:pt>
                <c:pt idx="205">
                  <c:v>32271122.75</c:v>
                </c:pt>
                <c:pt idx="206">
                  <c:v>33404114.416666668</c:v>
                </c:pt>
                <c:pt idx="207">
                  <c:v>35655567.75</c:v>
                </c:pt>
                <c:pt idx="208">
                  <c:v>34957873.333333336</c:v>
                </c:pt>
                <c:pt idx="209">
                  <c:v>34550084.5</c:v>
                </c:pt>
                <c:pt idx="210">
                  <c:v>31510650.25</c:v>
                </c:pt>
                <c:pt idx="211">
                  <c:v>31526567.75</c:v>
                </c:pt>
                <c:pt idx="212">
                  <c:v>36730160.083333336</c:v>
                </c:pt>
                <c:pt idx="213">
                  <c:v>36524878.166666664</c:v>
                </c:pt>
                <c:pt idx="214">
                  <c:v>35963302.916666664</c:v>
                </c:pt>
                <c:pt idx="215">
                  <c:v>35483992.75</c:v>
                </c:pt>
                <c:pt idx="216">
                  <c:v>36231050.25</c:v>
                </c:pt>
                <c:pt idx="217">
                  <c:v>30634935.083333332</c:v>
                </c:pt>
                <c:pt idx="218">
                  <c:v>30425432.333333332</c:v>
                </c:pt>
                <c:pt idx="219">
                  <c:v>37519097.333333336</c:v>
                </c:pt>
                <c:pt idx="220">
                  <c:v>36859254.833333336</c:v>
                </c:pt>
                <c:pt idx="221">
                  <c:v>37121550.333333336</c:v>
                </c:pt>
                <c:pt idx="222">
                  <c:v>36854129.75</c:v>
                </c:pt>
                <c:pt idx="223">
                  <c:v>36534271.75</c:v>
                </c:pt>
                <c:pt idx="224">
                  <c:v>31921056.25</c:v>
                </c:pt>
                <c:pt idx="225">
                  <c:v>30234637.333333332</c:v>
                </c:pt>
                <c:pt idx="226">
                  <c:v>34070651.916666664</c:v>
                </c:pt>
                <c:pt idx="227">
                  <c:v>33864961.833333336</c:v>
                </c:pt>
                <c:pt idx="228">
                  <c:v>33113101.25</c:v>
                </c:pt>
                <c:pt idx="229">
                  <c:v>34070275.916666664</c:v>
                </c:pt>
                <c:pt idx="230">
                  <c:v>33873849.333333336</c:v>
                </c:pt>
                <c:pt idx="231">
                  <c:v>28981180.75</c:v>
                </c:pt>
                <c:pt idx="232">
                  <c:v>28878961.916666668</c:v>
                </c:pt>
                <c:pt idx="233">
                  <c:v>32937947.25</c:v>
                </c:pt>
                <c:pt idx="234">
                  <c:v>34985283.333333336</c:v>
                </c:pt>
                <c:pt idx="235">
                  <c:v>35292871.333333336</c:v>
                </c:pt>
                <c:pt idx="236">
                  <c:v>35388173.166666664</c:v>
                </c:pt>
                <c:pt idx="237">
                  <c:v>35031085.166666664</c:v>
                </c:pt>
                <c:pt idx="238">
                  <c:v>31394734.166666668</c:v>
                </c:pt>
                <c:pt idx="239">
                  <c:v>30484201.416666668</c:v>
                </c:pt>
                <c:pt idx="240">
                  <c:v>35944998.916666664</c:v>
                </c:pt>
                <c:pt idx="241">
                  <c:v>35408465.5</c:v>
                </c:pt>
                <c:pt idx="242">
                  <c:v>32317959</c:v>
                </c:pt>
                <c:pt idx="243">
                  <c:v>37414622.5</c:v>
                </c:pt>
                <c:pt idx="244">
                  <c:v>35761618.083333336</c:v>
                </c:pt>
                <c:pt idx="245">
                  <c:v>32840553.583333332</c:v>
                </c:pt>
                <c:pt idx="246">
                  <c:v>31636586.5</c:v>
                </c:pt>
                <c:pt idx="247">
                  <c:v>35596234.583333336</c:v>
                </c:pt>
                <c:pt idx="248">
                  <c:v>36103866.833333336</c:v>
                </c:pt>
                <c:pt idx="249">
                  <c:v>35714983.833333336</c:v>
                </c:pt>
                <c:pt idx="250">
                  <c:v>34858119.166666664</c:v>
                </c:pt>
                <c:pt idx="251">
                  <c:v>35362427.833333336</c:v>
                </c:pt>
                <c:pt idx="252">
                  <c:v>34221022.5</c:v>
                </c:pt>
                <c:pt idx="253">
                  <c:v>32799489.5</c:v>
                </c:pt>
                <c:pt idx="254">
                  <c:v>38188485.5</c:v>
                </c:pt>
                <c:pt idx="255">
                  <c:v>38195788.166666664</c:v>
                </c:pt>
                <c:pt idx="256">
                  <c:v>37829345.416666664</c:v>
                </c:pt>
                <c:pt idx="257">
                  <c:v>38607278.916666664</c:v>
                </c:pt>
                <c:pt idx="258">
                  <c:v>37635648.916666664</c:v>
                </c:pt>
                <c:pt idx="259">
                  <c:v>32926785.166666668</c:v>
                </c:pt>
                <c:pt idx="260">
                  <c:v>32859666.333333332</c:v>
                </c:pt>
                <c:pt idx="261">
                  <c:v>37903618.083333336</c:v>
                </c:pt>
                <c:pt idx="262">
                  <c:v>38851122.916666664</c:v>
                </c:pt>
                <c:pt idx="263">
                  <c:v>39127878.583333336</c:v>
                </c:pt>
                <c:pt idx="264">
                  <c:v>38136130.916666664</c:v>
                </c:pt>
                <c:pt idx="265">
                  <c:v>36874086.833333336</c:v>
                </c:pt>
                <c:pt idx="266">
                  <c:v>33298378.166666668</c:v>
                </c:pt>
                <c:pt idx="267">
                  <c:v>32689435.166666668</c:v>
                </c:pt>
                <c:pt idx="268">
                  <c:v>36793777.166666664</c:v>
                </c:pt>
                <c:pt idx="269">
                  <c:v>37786049.583333336</c:v>
                </c:pt>
                <c:pt idx="270">
                  <c:v>37818927.25</c:v>
                </c:pt>
                <c:pt idx="271">
                  <c:v>36810164.5</c:v>
                </c:pt>
                <c:pt idx="272">
                  <c:v>35602082.583333336</c:v>
                </c:pt>
                <c:pt idx="273">
                  <c:v>33005877.833333332</c:v>
                </c:pt>
                <c:pt idx="274">
                  <c:v>31403321.25</c:v>
                </c:pt>
                <c:pt idx="275">
                  <c:v>37137354.416666664</c:v>
                </c:pt>
                <c:pt idx="276">
                  <c:v>35385561.916666664</c:v>
                </c:pt>
                <c:pt idx="277">
                  <c:v>35660137.166666664</c:v>
                </c:pt>
                <c:pt idx="278">
                  <c:v>39748357.666666664</c:v>
                </c:pt>
                <c:pt idx="279">
                  <c:v>39542633.5</c:v>
                </c:pt>
                <c:pt idx="280">
                  <c:v>35286527.5</c:v>
                </c:pt>
                <c:pt idx="281">
                  <c:v>34014407.833333336</c:v>
                </c:pt>
                <c:pt idx="282">
                  <c:v>38633549.833333336</c:v>
                </c:pt>
                <c:pt idx="283">
                  <c:v>37930341.916666664</c:v>
                </c:pt>
                <c:pt idx="284">
                  <c:v>37764691.833333336</c:v>
                </c:pt>
                <c:pt idx="285">
                  <c:v>36225066.416666664</c:v>
                </c:pt>
                <c:pt idx="286">
                  <c:v>35267081.833333336</c:v>
                </c:pt>
                <c:pt idx="287">
                  <c:v>31003301.416666668</c:v>
                </c:pt>
                <c:pt idx="288">
                  <c:v>29791296.333333332</c:v>
                </c:pt>
                <c:pt idx="289">
                  <c:v>31725113.916666668</c:v>
                </c:pt>
                <c:pt idx="290">
                  <c:v>34780263.166666664</c:v>
                </c:pt>
                <c:pt idx="291">
                  <c:v>34229908.25</c:v>
                </c:pt>
                <c:pt idx="292">
                  <c:v>35487248.25</c:v>
                </c:pt>
                <c:pt idx="293">
                  <c:v>36499962.583333336</c:v>
                </c:pt>
                <c:pt idx="294">
                  <c:v>31495327.166666668</c:v>
                </c:pt>
                <c:pt idx="295">
                  <c:v>31233209.75</c:v>
                </c:pt>
                <c:pt idx="296">
                  <c:v>37827893.5</c:v>
                </c:pt>
                <c:pt idx="297">
                  <c:v>35580237.083333336</c:v>
                </c:pt>
                <c:pt idx="298">
                  <c:v>29929121.5</c:v>
                </c:pt>
                <c:pt idx="299">
                  <c:v>29826082.25</c:v>
                </c:pt>
                <c:pt idx="300">
                  <c:v>19001767.583333332</c:v>
                </c:pt>
                <c:pt idx="301">
                  <c:v>32206645</c:v>
                </c:pt>
                <c:pt idx="302">
                  <c:v>33554200.75</c:v>
                </c:pt>
                <c:pt idx="303">
                  <c:v>32511363.5</c:v>
                </c:pt>
                <c:pt idx="304">
                  <c:v>33618502.166666664</c:v>
                </c:pt>
                <c:pt idx="305">
                  <c:v>33238193.5</c:v>
                </c:pt>
                <c:pt idx="306">
                  <c:v>29818503.333333332</c:v>
                </c:pt>
                <c:pt idx="307">
                  <c:v>28889954.833333332</c:v>
                </c:pt>
                <c:pt idx="308">
                  <c:v>32798715.916666668</c:v>
                </c:pt>
                <c:pt idx="309">
                  <c:v>31721619.25</c:v>
                </c:pt>
                <c:pt idx="310">
                  <c:v>32025805.5</c:v>
                </c:pt>
                <c:pt idx="311">
                  <c:v>32971896.583333332</c:v>
                </c:pt>
                <c:pt idx="312">
                  <c:v>33040053.166666668</c:v>
                </c:pt>
                <c:pt idx="313">
                  <c:v>29214935.333333332</c:v>
                </c:pt>
                <c:pt idx="314">
                  <c:v>28915144.833333332</c:v>
                </c:pt>
                <c:pt idx="315">
                  <c:v>33567707.25</c:v>
                </c:pt>
                <c:pt idx="316">
                  <c:v>34342798.333333336</c:v>
                </c:pt>
                <c:pt idx="317">
                  <c:v>33764321.083333336</c:v>
                </c:pt>
                <c:pt idx="318">
                  <c:v>35081849.083333336</c:v>
                </c:pt>
                <c:pt idx="319">
                  <c:v>32259080.333333332</c:v>
                </c:pt>
                <c:pt idx="320">
                  <c:v>28044445.833333332</c:v>
                </c:pt>
                <c:pt idx="321">
                  <c:v>25438680.75</c:v>
                </c:pt>
                <c:pt idx="322">
                  <c:v>29849313.916666668</c:v>
                </c:pt>
                <c:pt idx="323">
                  <c:v>30688843.666666668</c:v>
                </c:pt>
                <c:pt idx="324">
                  <c:v>30072653.25</c:v>
                </c:pt>
                <c:pt idx="325">
                  <c:v>29054707.083333332</c:v>
                </c:pt>
                <c:pt idx="326">
                  <c:v>28602058.333333332</c:v>
                </c:pt>
                <c:pt idx="327">
                  <c:v>24897694.166666668</c:v>
                </c:pt>
                <c:pt idx="328">
                  <c:v>25871817.166666668</c:v>
                </c:pt>
                <c:pt idx="329">
                  <c:v>35631251.166666664</c:v>
                </c:pt>
                <c:pt idx="330">
                  <c:v>28555801.25</c:v>
                </c:pt>
                <c:pt idx="331">
                  <c:v>29144698.166666668</c:v>
                </c:pt>
                <c:pt idx="332">
                  <c:v>28502633.166666668</c:v>
                </c:pt>
                <c:pt idx="333">
                  <c:v>25917934.166666668</c:v>
                </c:pt>
                <c:pt idx="334">
                  <c:v>25205346.666666668</c:v>
                </c:pt>
                <c:pt idx="335">
                  <c:v>25345287.25</c:v>
                </c:pt>
                <c:pt idx="336">
                  <c:v>29153216.416666668</c:v>
                </c:pt>
                <c:pt idx="337">
                  <c:v>28919031.583333332</c:v>
                </c:pt>
                <c:pt idx="338">
                  <c:v>29041532.166666668</c:v>
                </c:pt>
                <c:pt idx="339">
                  <c:v>29544027.5</c:v>
                </c:pt>
                <c:pt idx="340">
                  <c:v>28296281</c:v>
                </c:pt>
                <c:pt idx="341">
                  <c:v>25509150</c:v>
                </c:pt>
                <c:pt idx="342">
                  <c:v>24992173.666666668</c:v>
                </c:pt>
                <c:pt idx="343">
                  <c:v>36604049.666666664</c:v>
                </c:pt>
                <c:pt idx="344">
                  <c:v>31151502.5</c:v>
                </c:pt>
                <c:pt idx="345">
                  <c:v>30627143.166666668</c:v>
                </c:pt>
                <c:pt idx="346">
                  <c:v>30582695.666666668</c:v>
                </c:pt>
                <c:pt idx="347">
                  <c:v>30114429.5</c:v>
                </c:pt>
                <c:pt idx="348">
                  <c:v>27520377.666666668</c:v>
                </c:pt>
                <c:pt idx="349">
                  <c:v>26890186.25</c:v>
                </c:pt>
                <c:pt idx="350">
                  <c:v>28686073.5</c:v>
                </c:pt>
                <c:pt idx="351">
                  <c:v>31730581.166666668</c:v>
                </c:pt>
                <c:pt idx="352">
                  <c:v>29744126</c:v>
                </c:pt>
                <c:pt idx="353">
                  <c:v>30877421.333333332</c:v>
                </c:pt>
                <c:pt idx="354">
                  <c:v>30248740.25</c:v>
                </c:pt>
                <c:pt idx="355">
                  <c:v>27420250.916666668</c:v>
                </c:pt>
                <c:pt idx="356">
                  <c:v>26175103.416666668</c:v>
                </c:pt>
                <c:pt idx="357">
                  <c:v>30009628.25</c:v>
                </c:pt>
                <c:pt idx="358">
                  <c:v>29602771</c:v>
                </c:pt>
                <c:pt idx="359">
                  <c:v>29585550.583333332</c:v>
                </c:pt>
                <c:pt idx="360">
                  <c:v>29108563.416666668</c:v>
                </c:pt>
                <c:pt idx="361">
                  <c:v>29350791.75</c:v>
                </c:pt>
                <c:pt idx="362">
                  <c:v>24278104.5</c:v>
                </c:pt>
                <c:pt idx="363">
                  <c:v>24472730.75</c:v>
                </c:pt>
                <c:pt idx="364">
                  <c:v>30399358.25</c:v>
                </c:pt>
                <c:pt idx="365">
                  <c:v>29866618</c:v>
                </c:pt>
                <c:pt idx="366">
                  <c:v>30333075.166666668</c:v>
                </c:pt>
                <c:pt idx="367">
                  <c:v>29407958.5</c:v>
                </c:pt>
                <c:pt idx="368">
                  <c:v>37239991.25</c:v>
                </c:pt>
                <c:pt idx="369">
                  <c:v>28543431.5</c:v>
                </c:pt>
                <c:pt idx="370">
                  <c:v>25847267</c:v>
                </c:pt>
                <c:pt idx="371">
                  <c:v>28693886</c:v>
                </c:pt>
                <c:pt idx="372">
                  <c:v>29031377.583333332</c:v>
                </c:pt>
                <c:pt idx="373">
                  <c:v>27893903.75</c:v>
                </c:pt>
                <c:pt idx="374">
                  <c:v>27885553.666666668</c:v>
                </c:pt>
                <c:pt idx="375">
                  <c:v>28367110.916666668</c:v>
                </c:pt>
                <c:pt idx="376">
                  <c:v>25825238</c:v>
                </c:pt>
                <c:pt idx="377">
                  <c:v>25123649</c:v>
                </c:pt>
                <c:pt idx="378">
                  <c:v>28305860.416666668</c:v>
                </c:pt>
                <c:pt idx="379">
                  <c:v>27452323.25</c:v>
                </c:pt>
                <c:pt idx="380">
                  <c:v>27634650.75</c:v>
                </c:pt>
                <c:pt idx="381">
                  <c:v>28181642.666666668</c:v>
                </c:pt>
                <c:pt idx="382">
                  <c:v>27003423.333333332</c:v>
                </c:pt>
                <c:pt idx="383">
                  <c:v>25152642.25</c:v>
                </c:pt>
                <c:pt idx="384">
                  <c:v>23747554.083333332</c:v>
                </c:pt>
                <c:pt idx="385">
                  <c:v>17191670.5</c:v>
                </c:pt>
                <c:pt idx="386">
                  <c:v>27411678.916666668</c:v>
                </c:pt>
                <c:pt idx="387">
                  <c:v>26984621.416666668</c:v>
                </c:pt>
                <c:pt idx="388">
                  <c:v>29558012.666666668</c:v>
                </c:pt>
                <c:pt idx="389">
                  <c:v>29580189.333333332</c:v>
                </c:pt>
                <c:pt idx="390">
                  <c:v>28099086.666666668</c:v>
                </c:pt>
                <c:pt idx="391">
                  <c:v>27426532</c:v>
                </c:pt>
                <c:pt idx="392">
                  <c:v>30068707.583333332</c:v>
                </c:pt>
                <c:pt idx="393">
                  <c:v>37553989.5</c:v>
                </c:pt>
                <c:pt idx="394">
                  <c:v>27601460.75</c:v>
                </c:pt>
                <c:pt idx="395">
                  <c:v>31189001.083333332</c:v>
                </c:pt>
                <c:pt idx="396">
                  <c:v>32500800.666666668</c:v>
                </c:pt>
                <c:pt idx="397">
                  <c:v>28513472.583333332</c:v>
                </c:pt>
                <c:pt idx="398">
                  <c:v>27882402</c:v>
                </c:pt>
                <c:pt idx="399">
                  <c:v>33186472.416666668</c:v>
                </c:pt>
                <c:pt idx="400">
                  <c:v>33142875.166666668</c:v>
                </c:pt>
                <c:pt idx="401">
                  <c:v>33273887.25</c:v>
                </c:pt>
                <c:pt idx="402">
                  <c:v>33589620.75</c:v>
                </c:pt>
                <c:pt idx="403">
                  <c:v>33705137.583333336</c:v>
                </c:pt>
                <c:pt idx="404">
                  <c:v>29833686.333333332</c:v>
                </c:pt>
                <c:pt idx="405">
                  <c:v>31068828.416666668</c:v>
                </c:pt>
                <c:pt idx="406">
                  <c:v>34277681.833333336</c:v>
                </c:pt>
                <c:pt idx="407">
                  <c:v>34476385.166666664</c:v>
                </c:pt>
                <c:pt idx="408">
                  <c:v>34219575.916666664</c:v>
                </c:pt>
                <c:pt idx="409">
                  <c:v>34395046.75</c:v>
                </c:pt>
                <c:pt idx="410">
                  <c:v>32712486.25</c:v>
                </c:pt>
                <c:pt idx="411">
                  <c:v>29766853.833333332</c:v>
                </c:pt>
                <c:pt idx="412">
                  <c:v>30485308.5</c:v>
                </c:pt>
                <c:pt idx="413">
                  <c:v>33472651</c:v>
                </c:pt>
                <c:pt idx="414">
                  <c:v>34921188.083333336</c:v>
                </c:pt>
                <c:pt idx="415">
                  <c:v>34898370.5</c:v>
                </c:pt>
                <c:pt idx="416">
                  <c:v>33785338.416666664</c:v>
                </c:pt>
                <c:pt idx="417">
                  <c:v>32712696.5</c:v>
                </c:pt>
                <c:pt idx="418">
                  <c:v>29569539.75</c:v>
                </c:pt>
                <c:pt idx="419">
                  <c:v>28981261.25</c:v>
                </c:pt>
                <c:pt idx="420">
                  <c:v>33853722.333333336</c:v>
                </c:pt>
                <c:pt idx="421">
                  <c:v>43255376.166666664</c:v>
                </c:pt>
                <c:pt idx="422">
                  <c:v>34831169.916666664</c:v>
                </c:pt>
                <c:pt idx="423">
                  <c:v>35437711.833333336</c:v>
                </c:pt>
                <c:pt idx="424">
                  <c:v>35500227.6666666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659-4735-98C7-260F5D40EF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89420032"/>
        <c:axId val="-289424384"/>
      </c:lineChart>
      <c:catAx>
        <c:axId val="-28942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89424384"/>
        <c:crosses val="autoZero"/>
        <c:auto val="1"/>
        <c:lblAlgn val="ctr"/>
        <c:lblOffset val="100"/>
        <c:noMultiLvlLbl val="0"/>
      </c:catAx>
      <c:valAx>
        <c:axId val="-289424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8942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6" Type="http://schemas.openxmlformats.org/officeDocument/2006/relationships/hyperlink" Target="http://game-icons.net/lorc/originals/sands-of-time.html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6" Type="http://schemas.openxmlformats.org/officeDocument/2006/relationships/hyperlink" Target="http://game-icons.net/lorc/originals/sands-of-time.html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2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96D3E0B-A75E-46A1-8243-40702D66F03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DE4DEAFB-DB42-4B1F-BEF5-83A5E964DA91}">
      <dgm:prSet phldrT="[Text]"/>
      <dgm:spPr/>
      <dgm:t>
        <a:bodyPr/>
        <a:lstStyle/>
        <a:p>
          <a:r>
            <a:rPr lang="es-419" dirty="0"/>
            <a:t>Influenza AH1N1</a:t>
          </a:r>
          <a:endParaRPr lang="en-US" dirty="0"/>
        </a:p>
      </dgm:t>
    </dgm:pt>
    <dgm:pt modelId="{60C0EE76-64B7-41B1-BE45-324D40DEC2B3}" type="parTrans" cxnId="{575483F8-5C59-44A7-AB8A-57BB33115F72}">
      <dgm:prSet/>
      <dgm:spPr/>
      <dgm:t>
        <a:bodyPr/>
        <a:lstStyle/>
        <a:p>
          <a:endParaRPr lang="en-US"/>
        </a:p>
      </dgm:t>
    </dgm:pt>
    <dgm:pt modelId="{1CAEECE6-0069-4EFC-B08F-3FCD35E1996E}" type="sibTrans" cxnId="{575483F8-5C59-44A7-AB8A-57BB33115F72}">
      <dgm:prSet/>
      <dgm:spPr/>
      <dgm:t>
        <a:bodyPr/>
        <a:lstStyle/>
        <a:p>
          <a:endParaRPr lang="en-US"/>
        </a:p>
      </dgm:t>
    </dgm:pt>
    <dgm:pt modelId="{A1ED454B-A910-4AC8-A3F8-C5C17EC03616}">
      <dgm:prSet phldrT="[Text]" custT="1"/>
      <dgm:spPr/>
      <dgm:t>
        <a:bodyPr/>
        <a:lstStyle/>
        <a:p>
          <a:r>
            <a:rPr lang="es-419" sz="1400" dirty="0"/>
            <a:t>Home Office: Atención a clientes</a:t>
          </a:r>
          <a:endParaRPr lang="en-US" sz="1400" dirty="0"/>
        </a:p>
      </dgm:t>
    </dgm:pt>
    <dgm:pt modelId="{8B470D02-E1F6-43D9-B348-DF8D1004BEC3}" type="parTrans" cxnId="{C85B9599-FACD-442F-8180-1BF4ACFDC294}">
      <dgm:prSet/>
      <dgm:spPr/>
      <dgm:t>
        <a:bodyPr/>
        <a:lstStyle/>
        <a:p>
          <a:endParaRPr lang="en-US"/>
        </a:p>
      </dgm:t>
    </dgm:pt>
    <dgm:pt modelId="{E4AA4D06-5F81-47B8-9F63-864EF38F9421}" type="sibTrans" cxnId="{C85B9599-FACD-442F-8180-1BF4ACFDC294}">
      <dgm:prSet/>
      <dgm:spPr/>
      <dgm:t>
        <a:bodyPr/>
        <a:lstStyle/>
        <a:p>
          <a:endParaRPr lang="en-US"/>
        </a:p>
      </dgm:t>
    </dgm:pt>
    <dgm:pt modelId="{727F828D-A392-4E9D-B0C1-63EF8B2FCA21}" type="pres">
      <dgm:prSet presAssocID="{C96D3E0B-A75E-46A1-8243-40702D66F033}" presName="Name0" presStyleCnt="0">
        <dgm:presLayoutVars>
          <dgm:dir/>
          <dgm:resizeHandles val="exact"/>
        </dgm:presLayoutVars>
      </dgm:prSet>
      <dgm:spPr/>
    </dgm:pt>
    <dgm:pt modelId="{30FC6821-4BEF-4018-9C5A-5FC5AAACDC2B}" type="pres">
      <dgm:prSet presAssocID="{DE4DEAFB-DB42-4B1F-BEF5-83A5E964DA91}" presName="node" presStyleLbl="node1" presStyleIdx="0" presStyleCnt="2">
        <dgm:presLayoutVars>
          <dgm:bulletEnabled val="1"/>
        </dgm:presLayoutVars>
      </dgm:prSet>
      <dgm:spPr/>
    </dgm:pt>
    <dgm:pt modelId="{87F6872C-A9B6-4B3A-8557-4B96686DB96B}" type="pres">
      <dgm:prSet presAssocID="{1CAEECE6-0069-4EFC-B08F-3FCD35E1996E}" presName="sibTrans" presStyleLbl="sibTrans2D1" presStyleIdx="0" presStyleCnt="1"/>
      <dgm:spPr/>
    </dgm:pt>
    <dgm:pt modelId="{5BC3C9B2-4CD0-4D34-885B-967563B01F15}" type="pres">
      <dgm:prSet presAssocID="{1CAEECE6-0069-4EFC-B08F-3FCD35E1996E}" presName="connectorText" presStyleLbl="sibTrans2D1" presStyleIdx="0" presStyleCnt="1"/>
      <dgm:spPr/>
    </dgm:pt>
    <dgm:pt modelId="{49C38909-E911-4250-9895-393BAF3F30A2}" type="pres">
      <dgm:prSet presAssocID="{A1ED454B-A910-4AC8-A3F8-C5C17EC03616}" presName="node" presStyleLbl="node1" presStyleIdx="1" presStyleCnt="2">
        <dgm:presLayoutVars>
          <dgm:bulletEnabled val="1"/>
        </dgm:presLayoutVars>
      </dgm:prSet>
      <dgm:spPr/>
    </dgm:pt>
  </dgm:ptLst>
  <dgm:cxnLst>
    <dgm:cxn modelId="{B80A5728-E2E1-4E46-BFEE-E3918D17206D}" type="presOf" srcId="{A1ED454B-A910-4AC8-A3F8-C5C17EC03616}" destId="{49C38909-E911-4250-9895-393BAF3F30A2}" srcOrd="0" destOrd="0" presId="urn:microsoft.com/office/officeart/2005/8/layout/process1"/>
    <dgm:cxn modelId="{86EE655D-67DA-4F35-A2CA-C067E9CC94CF}" type="presOf" srcId="{C96D3E0B-A75E-46A1-8243-40702D66F033}" destId="{727F828D-A392-4E9D-B0C1-63EF8B2FCA21}" srcOrd="0" destOrd="0" presId="urn:microsoft.com/office/officeart/2005/8/layout/process1"/>
    <dgm:cxn modelId="{26ED1C46-AD74-4FC4-AD39-0990819555B4}" type="presOf" srcId="{1CAEECE6-0069-4EFC-B08F-3FCD35E1996E}" destId="{5BC3C9B2-4CD0-4D34-885B-967563B01F15}" srcOrd="1" destOrd="0" presId="urn:microsoft.com/office/officeart/2005/8/layout/process1"/>
    <dgm:cxn modelId="{C85B9599-FACD-442F-8180-1BF4ACFDC294}" srcId="{C96D3E0B-A75E-46A1-8243-40702D66F033}" destId="{A1ED454B-A910-4AC8-A3F8-C5C17EC03616}" srcOrd="1" destOrd="0" parTransId="{8B470D02-E1F6-43D9-B348-DF8D1004BEC3}" sibTransId="{E4AA4D06-5F81-47B8-9F63-864EF38F9421}"/>
    <dgm:cxn modelId="{1D4701A6-1011-4D1C-A642-0EE471E4FBEF}" type="presOf" srcId="{1CAEECE6-0069-4EFC-B08F-3FCD35E1996E}" destId="{87F6872C-A9B6-4B3A-8557-4B96686DB96B}" srcOrd="0" destOrd="0" presId="urn:microsoft.com/office/officeart/2005/8/layout/process1"/>
    <dgm:cxn modelId="{F8E923E1-1971-4E93-A0F2-D86E912F8E32}" type="presOf" srcId="{DE4DEAFB-DB42-4B1F-BEF5-83A5E964DA91}" destId="{30FC6821-4BEF-4018-9C5A-5FC5AAACDC2B}" srcOrd="0" destOrd="0" presId="urn:microsoft.com/office/officeart/2005/8/layout/process1"/>
    <dgm:cxn modelId="{575483F8-5C59-44A7-AB8A-57BB33115F72}" srcId="{C96D3E0B-A75E-46A1-8243-40702D66F033}" destId="{DE4DEAFB-DB42-4B1F-BEF5-83A5E964DA91}" srcOrd="0" destOrd="0" parTransId="{60C0EE76-64B7-41B1-BE45-324D40DEC2B3}" sibTransId="{1CAEECE6-0069-4EFC-B08F-3FCD35E1996E}"/>
    <dgm:cxn modelId="{BC2BD16F-2F60-46EA-9F53-7F506F6D8E82}" type="presParOf" srcId="{727F828D-A392-4E9D-B0C1-63EF8B2FCA21}" destId="{30FC6821-4BEF-4018-9C5A-5FC5AAACDC2B}" srcOrd="0" destOrd="0" presId="urn:microsoft.com/office/officeart/2005/8/layout/process1"/>
    <dgm:cxn modelId="{6F9B351B-75F0-4A56-93FE-E37A4D352970}" type="presParOf" srcId="{727F828D-A392-4E9D-B0C1-63EF8B2FCA21}" destId="{87F6872C-A9B6-4B3A-8557-4B96686DB96B}" srcOrd="1" destOrd="0" presId="urn:microsoft.com/office/officeart/2005/8/layout/process1"/>
    <dgm:cxn modelId="{9C0B9A9E-4579-4115-B0E7-8FC91A58418D}" type="presParOf" srcId="{87F6872C-A9B6-4B3A-8557-4B96686DB96B}" destId="{5BC3C9B2-4CD0-4D34-885B-967563B01F15}" srcOrd="0" destOrd="0" presId="urn:microsoft.com/office/officeart/2005/8/layout/process1"/>
    <dgm:cxn modelId="{B39ABD48-BCDC-44ED-8E99-EF5C488A6756}" type="presParOf" srcId="{727F828D-A392-4E9D-B0C1-63EF8B2FCA21}" destId="{49C38909-E911-4250-9895-393BAF3F30A2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6D3E0B-A75E-46A1-8243-40702D66F03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DE4DEAFB-DB42-4B1F-BEF5-83A5E964DA91}">
      <dgm:prSet phldrT="[Text]" custT="1"/>
      <dgm:spPr/>
      <dgm:t>
        <a:bodyPr/>
        <a:lstStyle/>
        <a:p>
          <a:r>
            <a:rPr lang="es-419" sz="2000" dirty="0"/>
            <a:t>Inseguridad Monterrey</a:t>
          </a:r>
          <a:endParaRPr lang="en-US" sz="2000" dirty="0"/>
        </a:p>
      </dgm:t>
    </dgm:pt>
    <dgm:pt modelId="{60C0EE76-64B7-41B1-BE45-324D40DEC2B3}" type="parTrans" cxnId="{575483F8-5C59-44A7-AB8A-57BB33115F72}">
      <dgm:prSet/>
      <dgm:spPr/>
      <dgm:t>
        <a:bodyPr/>
        <a:lstStyle/>
        <a:p>
          <a:endParaRPr lang="en-US"/>
        </a:p>
      </dgm:t>
    </dgm:pt>
    <dgm:pt modelId="{1CAEECE6-0069-4EFC-B08F-3FCD35E1996E}" type="sibTrans" cxnId="{575483F8-5C59-44A7-AB8A-57BB33115F72}">
      <dgm:prSet/>
      <dgm:spPr/>
      <dgm:t>
        <a:bodyPr/>
        <a:lstStyle/>
        <a:p>
          <a:endParaRPr lang="en-US"/>
        </a:p>
      </dgm:t>
    </dgm:pt>
    <dgm:pt modelId="{A1ED454B-A910-4AC8-A3F8-C5C17EC03616}">
      <dgm:prSet phldrT="[Text]"/>
      <dgm:spPr/>
      <dgm:t>
        <a:bodyPr/>
        <a:lstStyle/>
        <a:p>
          <a:r>
            <a:rPr lang="es-419" dirty="0"/>
            <a:t>Capacidad de operar fuera de las instalaciones/</a:t>
          </a:r>
          <a:r>
            <a:rPr lang="es-419" dirty="0" err="1"/>
            <a:t>datacenters</a:t>
          </a:r>
          <a:endParaRPr lang="en-US" dirty="0"/>
        </a:p>
      </dgm:t>
    </dgm:pt>
    <dgm:pt modelId="{8B470D02-E1F6-43D9-B348-DF8D1004BEC3}" type="parTrans" cxnId="{C85B9599-FACD-442F-8180-1BF4ACFDC294}">
      <dgm:prSet/>
      <dgm:spPr/>
      <dgm:t>
        <a:bodyPr/>
        <a:lstStyle/>
        <a:p>
          <a:endParaRPr lang="en-US"/>
        </a:p>
      </dgm:t>
    </dgm:pt>
    <dgm:pt modelId="{E4AA4D06-5F81-47B8-9F63-864EF38F9421}" type="sibTrans" cxnId="{C85B9599-FACD-442F-8180-1BF4ACFDC294}">
      <dgm:prSet/>
      <dgm:spPr/>
      <dgm:t>
        <a:bodyPr/>
        <a:lstStyle/>
        <a:p>
          <a:endParaRPr lang="en-US"/>
        </a:p>
      </dgm:t>
    </dgm:pt>
    <dgm:pt modelId="{727F828D-A392-4E9D-B0C1-63EF8B2FCA21}" type="pres">
      <dgm:prSet presAssocID="{C96D3E0B-A75E-46A1-8243-40702D66F033}" presName="Name0" presStyleCnt="0">
        <dgm:presLayoutVars>
          <dgm:dir/>
          <dgm:resizeHandles val="exact"/>
        </dgm:presLayoutVars>
      </dgm:prSet>
      <dgm:spPr/>
    </dgm:pt>
    <dgm:pt modelId="{30FC6821-4BEF-4018-9C5A-5FC5AAACDC2B}" type="pres">
      <dgm:prSet presAssocID="{DE4DEAFB-DB42-4B1F-BEF5-83A5E964DA91}" presName="node" presStyleLbl="node1" presStyleIdx="0" presStyleCnt="2">
        <dgm:presLayoutVars>
          <dgm:bulletEnabled val="1"/>
        </dgm:presLayoutVars>
      </dgm:prSet>
      <dgm:spPr/>
    </dgm:pt>
    <dgm:pt modelId="{87F6872C-A9B6-4B3A-8557-4B96686DB96B}" type="pres">
      <dgm:prSet presAssocID="{1CAEECE6-0069-4EFC-B08F-3FCD35E1996E}" presName="sibTrans" presStyleLbl="sibTrans2D1" presStyleIdx="0" presStyleCnt="1"/>
      <dgm:spPr/>
    </dgm:pt>
    <dgm:pt modelId="{5BC3C9B2-4CD0-4D34-885B-967563B01F15}" type="pres">
      <dgm:prSet presAssocID="{1CAEECE6-0069-4EFC-B08F-3FCD35E1996E}" presName="connectorText" presStyleLbl="sibTrans2D1" presStyleIdx="0" presStyleCnt="1"/>
      <dgm:spPr/>
    </dgm:pt>
    <dgm:pt modelId="{49C38909-E911-4250-9895-393BAF3F30A2}" type="pres">
      <dgm:prSet presAssocID="{A1ED454B-A910-4AC8-A3F8-C5C17EC03616}" presName="node" presStyleLbl="node1" presStyleIdx="1" presStyleCnt="2">
        <dgm:presLayoutVars>
          <dgm:bulletEnabled val="1"/>
        </dgm:presLayoutVars>
      </dgm:prSet>
      <dgm:spPr/>
    </dgm:pt>
  </dgm:ptLst>
  <dgm:cxnLst>
    <dgm:cxn modelId="{B80A5728-E2E1-4E46-BFEE-E3918D17206D}" type="presOf" srcId="{A1ED454B-A910-4AC8-A3F8-C5C17EC03616}" destId="{49C38909-E911-4250-9895-393BAF3F30A2}" srcOrd="0" destOrd="0" presId="urn:microsoft.com/office/officeart/2005/8/layout/process1"/>
    <dgm:cxn modelId="{86EE655D-67DA-4F35-A2CA-C067E9CC94CF}" type="presOf" srcId="{C96D3E0B-A75E-46A1-8243-40702D66F033}" destId="{727F828D-A392-4E9D-B0C1-63EF8B2FCA21}" srcOrd="0" destOrd="0" presId="urn:microsoft.com/office/officeart/2005/8/layout/process1"/>
    <dgm:cxn modelId="{26ED1C46-AD74-4FC4-AD39-0990819555B4}" type="presOf" srcId="{1CAEECE6-0069-4EFC-B08F-3FCD35E1996E}" destId="{5BC3C9B2-4CD0-4D34-885B-967563B01F15}" srcOrd="1" destOrd="0" presId="urn:microsoft.com/office/officeart/2005/8/layout/process1"/>
    <dgm:cxn modelId="{C85B9599-FACD-442F-8180-1BF4ACFDC294}" srcId="{C96D3E0B-A75E-46A1-8243-40702D66F033}" destId="{A1ED454B-A910-4AC8-A3F8-C5C17EC03616}" srcOrd="1" destOrd="0" parTransId="{8B470D02-E1F6-43D9-B348-DF8D1004BEC3}" sibTransId="{E4AA4D06-5F81-47B8-9F63-864EF38F9421}"/>
    <dgm:cxn modelId="{1D4701A6-1011-4D1C-A642-0EE471E4FBEF}" type="presOf" srcId="{1CAEECE6-0069-4EFC-B08F-3FCD35E1996E}" destId="{87F6872C-A9B6-4B3A-8557-4B96686DB96B}" srcOrd="0" destOrd="0" presId="urn:microsoft.com/office/officeart/2005/8/layout/process1"/>
    <dgm:cxn modelId="{F8E923E1-1971-4E93-A0F2-D86E912F8E32}" type="presOf" srcId="{DE4DEAFB-DB42-4B1F-BEF5-83A5E964DA91}" destId="{30FC6821-4BEF-4018-9C5A-5FC5AAACDC2B}" srcOrd="0" destOrd="0" presId="urn:microsoft.com/office/officeart/2005/8/layout/process1"/>
    <dgm:cxn modelId="{575483F8-5C59-44A7-AB8A-57BB33115F72}" srcId="{C96D3E0B-A75E-46A1-8243-40702D66F033}" destId="{DE4DEAFB-DB42-4B1F-BEF5-83A5E964DA91}" srcOrd="0" destOrd="0" parTransId="{60C0EE76-64B7-41B1-BE45-324D40DEC2B3}" sibTransId="{1CAEECE6-0069-4EFC-B08F-3FCD35E1996E}"/>
    <dgm:cxn modelId="{BC2BD16F-2F60-46EA-9F53-7F506F6D8E82}" type="presParOf" srcId="{727F828D-A392-4E9D-B0C1-63EF8B2FCA21}" destId="{30FC6821-4BEF-4018-9C5A-5FC5AAACDC2B}" srcOrd="0" destOrd="0" presId="urn:microsoft.com/office/officeart/2005/8/layout/process1"/>
    <dgm:cxn modelId="{6F9B351B-75F0-4A56-93FE-E37A4D352970}" type="presParOf" srcId="{727F828D-A392-4E9D-B0C1-63EF8B2FCA21}" destId="{87F6872C-A9B6-4B3A-8557-4B96686DB96B}" srcOrd="1" destOrd="0" presId="urn:microsoft.com/office/officeart/2005/8/layout/process1"/>
    <dgm:cxn modelId="{9C0B9A9E-4579-4115-B0E7-8FC91A58418D}" type="presParOf" srcId="{87F6872C-A9B6-4B3A-8557-4B96686DB96B}" destId="{5BC3C9B2-4CD0-4D34-885B-967563B01F15}" srcOrd="0" destOrd="0" presId="urn:microsoft.com/office/officeart/2005/8/layout/process1"/>
    <dgm:cxn modelId="{B39ABD48-BCDC-44ED-8E99-EF5C488A6756}" type="presParOf" srcId="{727F828D-A392-4E9D-B0C1-63EF8B2FCA21}" destId="{49C38909-E911-4250-9895-393BAF3F30A2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96D3E0B-A75E-46A1-8243-40702D66F03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DE4DEAFB-DB42-4B1F-BEF5-83A5E964DA91}">
      <dgm:prSet phldrT="[Text]" custT="1"/>
      <dgm:spPr/>
      <dgm:t>
        <a:bodyPr/>
        <a:lstStyle/>
        <a:p>
          <a:r>
            <a:rPr lang="es-419" sz="2400" dirty="0"/>
            <a:t>Huracán Alex</a:t>
          </a:r>
          <a:endParaRPr lang="en-US" sz="2400" dirty="0"/>
        </a:p>
      </dgm:t>
    </dgm:pt>
    <dgm:pt modelId="{60C0EE76-64B7-41B1-BE45-324D40DEC2B3}" type="parTrans" cxnId="{575483F8-5C59-44A7-AB8A-57BB33115F72}">
      <dgm:prSet/>
      <dgm:spPr/>
      <dgm:t>
        <a:bodyPr/>
        <a:lstStyle/>
        <a:p>
          <a:endParaRPr lang="en-US"/>
        </a:p>
      </dgm:t>
    </dgm:pt>
    <dgm:pt modelId="{1CAEECE6-0069-4EFC-B08F-3FCD35E1996E}" type="sibTrans" cxnId="{575483F8-5C59-44A7-AB8A-57BB33115F72}">
      <dgm:prSet/>
      <dgm:spPr/>
      <dgm:t>
        <a:bodyPr/>
        <a:lstStyle/>
        <a:p>
          <a:endParaRPr lang="en-US"/>
        </a:p>
      </dgm:t>
    </dgm:pt>
    <dgm:pt modelId="{A1ED454B-A910-4AC8-A3F8-C5C17EC03616}">
      <dgm:prSet phldrT="[Text]" custT="1"/>
      <dgm:spPr/>
      <dgm:t>
        <a:bodyPr/>
        <a:lstStyle/>
        <a:p>
          <a:r>
            <a:rPr lang="es-419" sz="1400" dirty="0"/>
            <a:t>Operación múltiples ubicaciones</a:t>
          </a:r>
          <a:endParaRPr lang="en-US" sz="1400" dirty="0"/>
        </a:p>
      </dgm:t>
    </dgm:pt>
    <dgm:pt modelId="{8B470D02-E1F6-43D9-B348-DF8D1004BEC3}" type="parTrans" cxnId="{C85B9599-FACD-442F-8180-1BF4ACFDC294}">
      <dgm:prSet/>
      <dgm:spPr/>
      <dgm:t>
        <a:bodyPr/>
        <a:lstStyle/>
        <a:p>
          <a:endParaRPr lang="en-US"/>
        </a:p>
      </dgm:t>
    </dgm:pt>
    <dgm:pt modelId="{E4AA4D06-5F81-47B8-9F63-864EF38F9421}" type="sibTrans" cxnId="{C85B9599-FACD-442F-8180-1BF4ACFDC294}">
      <dgm:prSet/>
      <dgm:spPr/>
      <dgm:t>
        <a:bodyPr/>
        <a:lstStyle/>
        <a:p>
          <a:endParaRPr lang="en-US"/>
        </a:p>
      </dgm:t>
    </dgm:pt>
    <dgm:pt modelId="{727F828D-A392-4E9D-B0C1-63EF8B2FCA21}" type="pres">
      <dgm:prSet presAssocID="{C96D3E0B-A75E-46A1-8243-40702D66F033}" presName="Name0" presStyleCnt="0">
        <dgm:presLayoutVars>
          <dgm:dir/>
          <dgm:resizeHandles val="exact"/>
        </dgm:presLayoutVars>
      </dgm:prSet>
      <dgm:spPr/>
    </dgm:pt>
    <dgm:pt modelId="{30FC6821-4BEF-4018-9C5A-5FC5AAACDC2B}" type="pres">
      <dgm:prSet presAssocID="{DE4DEAFB-DB42-4B1F-BEF5-83A5E964DA91}" presName="node" presStyleLbl="node1" presStyleIdx="0" presStyleCnt="2">
        <dgm:presLayoutVars>
          <dgm:bulletEnabled val="1"/>
        </dgm:presLayoutVars>
      </dgm:prSet>
      <dgm:spPr/>
    </dgm:pt>
    <dgm:pt modelId="{87F6872C-A9B6-4B3A-8557-4B96686DB96B}" type="pres">
      <dgm:prSet presAssocID="{1CAEECE6-0069-4EFC-B08F-3FCD35E1996E}" presName="sibTrans" presStyleLbl="sibTrans2D1" presStyleIdx="0" presStyleCnt="1"/>
      <dgm:spPr/>
    </dgm:pt>
    <dgm:pt modelId="{5BC3C9B2-4CD0-4D34-885B-967563B01F15}" type="pres">
      <dgm:prSet presAssocID="{1CAEECE6-0069-4EFC-B08F-3FCD35E1996E}" presName="connectorText" presStyleLbl="sibTrans2D1" presStyleIdx="0" presStyleCnt="1"/>
      <dgm:spPr/>
    </dgm:pt>
    <dgm:pt modelId="{49C38909-E911-4250-9895-393BAF3F30A2}" type="pres">
      <dgm:prSet presAssocID="{A1ED454B-A910-4AC8-A3F8-C5C17EC03616}" presName="node" presStyleLbl="node1" presStyleIdx="1" presStyleCnt="2">
        <dgm:presLayoutVars>
          <dgm:bulletEnabled val="1"/>
        </dgm:presLayoutVars>
      </dgm:prSet>
      <dgm:spPr/>
    </dgm:pt>
  </dgm:ptLst>
  <dgm:cxnLst>
    <dgm:cxn modelId="{B80A5728-E2E1-4E46-BFEE-E3918D17206D}" type="presOf" srcId="{A1ED454B-A910-4AC8-A3F8-C5C17EC03616}" destId="{49C38909-E911-4250-9895-393BAF3F30A2}" srcOrd="0" destOrd="0" presId="urn:microsoft.com/office/officeart/2005/8/layout/process1"/>
    <dgm:cxn modelId="{86EE655D-67DA-4F35-A2CA-C067E9CC94CF}" type="presOf" srcId="{C96D3E0B-A75E-46A1-8243-40702D66F033}" destId="{727F828D-A392-4E9D-B0C1-63EF8B2FCA21}" srcOrd="0" destOrd="0" presId="urn:microsoft.com/office/officeart/2005/8/layout/process1"/>
    <dgm:cxn modelId="{26ED1C46-AD74-4FC4-AD39-0990819555B4}" type="presOf" srcId="{1CAEECE6-0069-4EFC-B08F-3FCD35E1996E}" destId="{5BC3C9B2-4CD0-4D34-885B-967563B01F15}" srcOrd="1" destOrd="0" presId="urn:microsoft.com/office/officeart/2005/8/layout/process1"/>
    <dgm:cxn modelId="{C85B9599-FACD-442F-8180-1BF4ACFDC294}" srcId="{C96D3E0B-A75E-46A1-8243-40702D66F033}" destId="{A1ED454B-A910-4AC8-A3F8-C5C17EC03616}" srcOrd="1" destOrd="0" parTransId="{8B470D02-E1F6-43D9-B348-DF8D1004BEC3}" sibTransId="{E4AA4D06-5F81-47B8-9F63-864EF38F9421}"/>
    <dgm:cxn modelId="{1D4701A6-1011-4D1C-A642-0EE471E4FBEF}" type="presOf" srcId="{1CAEECE6-0069-4EFC-B08F-3FCD35E1996E}" destId="{87F6872C-A9B6-4B3A-8557-4B96686DB96B}" srcOrd="0" destOrd="0" presId="urn:microsoft.com/office/officeart/2005/8/layout/process1"/>
    <dgm:cxn modelId="{F8E923E1-1971-4E93-A0F2-D86E912F8E32}" type="presOf" srcId="{DE4DEAFB-DB42-4B1F-BEF5-83A5E964DA91}" destId="{30FC6821-4BEF-4018-9C5A-5FC5AAACDC2B}" srcOrd="0" destOrd="0" presId="urn:microsoft.com/office/officeart/2005/8/layout/process1"/>
    <dgm:cxn modelId="{575483F8-5C59-44A7-AB8A-57BB33115F72}" srcId="{C96D3E0B-A75E-46A1-8243-40702D66F033}" destId="{DE4DEAFB-DB42-4B1F-BEF5-83A5E964DA91}" srcOrd="0" destOrd="0" parTransId="{60C0EE76-64B7-41B1-BE45-324D40DEC2B3}" sibTransId="{1CAEECE6-0069-4EFC-B08F-3FCD35E1996E}"/>
    <dgm:cxn modelId="{BC2BD16F-2F60-46EA-9F53-7F506F6D8E82}" type="presParOf" srcId="{727F828D-A392-4E9D-B0C1-63EF8B2FCA21}" destId="{30FC6821-4BEF-4018-9C5A-5FC5AAACDC2B}" srcOrd="0" destOrd="0" presId="urn:microsoft.com/office/officeart/2005/8/layout/process1"/>
    <dgm:cxn modelId="{6F9B351B-75F0-4A56-93FE-E37A4D352970}" type="presParOf" srcId="{727F828D-A392-4E9D-B0C1-63EF8B2FCA21}" destId="{87F6872C-A9B6-4B3A-8557-4B96686DB96B}" srcOrd="1" destOrd="0" presId="urn:microsoft.com/office/officeart/2005/8/layout/process1"/>
    <dgm:cxn modelId="{9C0B9A9E-4579-4115-B0E7-8FC91A58418D}" type="presParOf" srcId="{87F6872C-A9B6-4B3A-8557-4B96686DB96B}" destId="{5BC3C9B2-4CD0-4D34-885B-967563B01F15}" srcOrd="0" destOrd="0" presId="urn:microsoft.com/office/officeart/2005/8/layout/process1"/>
    <dgm:cxn modelId="{B39ABD48-BCDC-44ED-8E99-EF5C488A6756}" type="presParOf" srcId="{727F828D-A392-4E9D-B0C1-63EF8B2FCA21}" destId="{49C38909-E911-4250-9895-393BAF3F30A2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96D3E0B-A75E-46A1-8243-40702D66F03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DE4DEAFB-DB42-4B1F-BEF5-83A5E964DA91}">
      <dgm:prSet phldrT="[Text]"/>
      <dgm:spPr/>
      <dgm:t>
        <a:bodyPr/>
        <a:lstStyle/>
        <a:p>
          <a:r>
            <a:rPr lang="es-419" dirty="0"/>
            <a:t>Falla proveedor Servicios Cloud</a:t>
          </a:r>
          <a:endParaRPr lang="en-US" dirty="0"/>
        </a:p>
      </dgm:t>
    </dgm:pt>
    <dgm:pt modelId="{60C0EE76-64B7-41B1-BE45-324D40DEC2B3}" type="parTrans" cxnId="{575483F8-5C59-44A7-AB8A-57BB33115F72}">
      <dgm:prSet/>
      <dgm:spPr/>
      <dgm:t>
        <a:bodyPr/>
        <a:lstStyle/>
        <a:p>
          <a:endParaRPr lang="en-US"/>
        </a:p>
      </dgm:t>
    </dgm:pt>
    <dgm:pt modelId="{1CAEECE6-0069-4EFC-B08F-3FCD35E1996E}" type="sibTrans" cxnId="{575483F8-5C59-44A7-AB8A-57BB33115F72}">
      <dgm:prSet/>
      <dgm:spPr/>
      <dgm:t>
        <a:bodyPr/>
        <a:lstStyle/>
        <a:p>
          <a:endParaRPr lang="en-US"/>
        </a:p>
      </dgm:t>
    </dgm:pt>
    <dgm:pt modelId="{A1ED454B-A910-4AC8-A3F8-C5C17EC03616}">
      <dgm:prSet phldrT="[Text]" custT="1"/>
      <dgm:spPr/>
      <dgm:t>
        <a:bodyPr/>
        <a:lstStyle/>
        <a:p>
          <a:r>
            <a:rPr lang="es-419" sz="1600" dirty="0"/>
            <a:t>Cloud no es la solución</a:t>
          </a:r>
          <a:endParaRPr lang="en-US" sz="1600" dirty="0"/>
        </a:p>
      </dgm:t>
    </dgm:pt>
    <dgm:pt modelId="{8B470D02-E1F6-43D9-B348-DF8D1004BEC3}" type="parTrans" cxnId="{C85B9599-FACD-442F-8180-1BF4ACFDC294}">
      <dgm:prSet/>
      <dgm:spPr/>
      <dgm:t>
        <a:bodyPr/>
        <a:lstStyle/>
        <a:p>
          <a:endParaRPr lang="en-US"/>
        </a:p>
      </dgm:t>
    </dgm:pt>
    <dgm:pt modelId="{E4AA4D06-5F81-47B8-9F63-864EF38F9421}" type="sibTrans" cxnId="{C85B9599-FACD-442F-8180-1BF4ACFDC294}">
      <dgm:prSet/>
      <dgm:spPr/>
      <dgm:t>
        <a:bodyPr/>
        <a:lstStyle/>
        <a:p>
          <a:endParaRPr lang="en-US"/>
        </a:p>
      </dgm:t>
    </dgm:pt>
    <dgm:pt modelId="{727F828D-A392-4E9D-B0C1-63EF8B2FCA21}" type="pres">
      <dgm:prSet presAssocID="{C96D3E0B-A75E-46A1-8243-40702D66F033}" presName="Name0" presStyleCnt="0">
        <dgm:presLayoutVars>
          <dgm:dir/>
          <dgm:resizeHandles val="exact"/>
        </dgm:presLayoutVars>
      </dgm:prSet>
      <dgm:spPr/>
    </dgm:pt>
    <dgm:pt modelId="{30FC6821-4BEF-4018-9C5A-5FC5AAACDC2B}" type="pres">
      <dgm:prSet presAssocID="{DE4DEAFB-DB42-4B1F-BEF5-83A5E964DA91}" presName="node" presStyleLbl="node1" presStyleIdx="0" presStyleCnt="2">
        <dgm:presLayoutVars>
          <dgm:bulletEnabled val="1"/>
        </dgm:presLayoutVars>
      </dgm:prSet>
      <dgm:spPr/>
    </dgm:pt>
    <dgm:pt modelId="{87F6872C-A9B6-4B3A-8557-4B96686DB96B}" type="pres">
      <dgm:prSet presAssocID="{1CAEECE6-0069-4EFC-B08F-3FCD35E1996E}" presName="sibTrans" presStyleLbl="sibTrans2D1" presStyleIdx="0" presStyleCnt="1"/>
      <dgm:spPr/>
    </dgm:pt>
    <dgm:pt modelId="{5BC3C9B2-4CD0-4D34-885B-967563B01F15}" type="pres">
      <dgm:prSet presAssocID="{1CAEECE6-0069-4EFC-B08F-3FCD35E1996E}" presName="connectorText" presStyleLbl="sibTrans2D1" presStyleIdx="0" presStyleCnt="1"/>
      <dgm:spPr/>
    </dgm:pt>
    <dgm:pt modelId="{49C38909-E911-4250-9895-393BAF3F30A2}" type="pres">
      <dgm:prSet presAssocID="{A1ED454B-A910-4AC8-A3F8-C5C17EC03616}" presName="node" presStyleLbl="node1" presStyleIdx="1" presStyleCnt="2">
        <dgm:presLayoutVars>
          <dgm:bulletEnabled val="1"/>
        </dgm:presLayoutVars>
      </dgm:prSet>
      <dgm:spPr/>
    </dgm:pt>
  </dgm:ptLst>
  <dgm:cxnLst>
    <dgm:cxn modelId="{B80A5728-E2E1-4E46-BFEE-E3918D17206D}" type="presOf" srcId="{A1ED454B-A910-4AC8-A3F8-C5C17EC03616}" destId="{49C38909-E911-4250-9895-393BAF3F30A2}" srcOrd="0" destOrd="0" presId="urn:microsoft.com/office/officeart/2005/8/layout/process1"/>
    <dgm:cxn modelId="{86EE655D-67DA-4F35-A2CA-C067E9CC94CF}" type="presOf" srcId="{C96D3E0B-A75E-46A1-8243-40702D66F033}" destId="{727F828D-A392-4E9D-B0C1-63EF8B2FCA21}" srcOrd="0" destOrd="0" presId="urn:microsoft.com/office/officeart/2005/8/layout/process1"/>
    <dgm:cxn modelId="{26ED1C46-AD74-4FC4-AD39-0990819555B4}" type="presOf" srcId="{1CAEECE6-0069-4EFC-B08F-3FCD35E1996E}" destId="{5BC3C9B2-4CD0-4D34-885B-967563B01F15}" srcOrd="1" destOrd="0" presId="urn:microsoft.com/office/officeart/2005/8/layout/process1"/>
    <dgm:cxn modelId="{C85B9599-FACD-442F-8180-1BF4ACFDC294}" srcId="{C96D3E0B-A75E-46A1-8243-40702D66F033}" destId="{A1ED454B-A910-4AC8-A3F8-C5C17EC03616}" srcOrd="1" destOrd="0" parTransId="{8B470D02-E1F6-43D9-B348-DF8D1004BEC3}" sibTransId="{E4AA4D06-5F81-47B8-9F63-864EF38F9421}"/>
    <dgm:cxn modelId="{1D4701A6-1011-4D1C-A642-0EE471E4FBEF}" type="presOf" srcId="{1CAEECE6-0069-4EFC-B08F-3FCD35E1996E}" destId="{87F6872C-A9B6-4B3A-8557-4B96686DB96B}" srcOrd="0" destOrd="0" presId="urn:microsoft.com/office/officeart/2005/8/layout/process1"/>
    <dgm:cxn modelId="{F8E923E1-1971-4E93-A0F2-D86E912F8E32}" type="presOf" srcId="{DE4DEAFB-DB42-4B1F-BEF5-83A5E964DA91}" destId="{30FC6821-4BEF-4018-9C5A-5FC5AAACDC2B}" srcOrd="0" destOrd="0" presId="urn:microsoft.com/office/officeart/2005/8/layout/process1"/>
    <dgm:cxn modelId="{575483F8-5C59-44A7-AB8A-57BB33115F72}" srcId="{C96D3E0B-A75E-46A1-8243-40702D66F033}" destId="{DE4DEAFB-DB42-4B1F-BEF5-83A5E964DA91}" srcOrd="0" destOrd="0" parTransId="{60C0EE76-64B7-41B1-BE45-324D40DEC2B3}" sibTransId="{1CAEECE6-0069-4EFC-B08F-3FCD35E1996E}"/>
    <dgm:cxn modelId="{BC2BD16F-2F60-46EA-9F53-7F506F6D8E82}" type="presParOf" srcId="{727F828D-A392-4E9D-B0C1-63EF8B2FCA21}" destId="{30FC6821-4BEF-4018-9C5A-5FC5AAACDC2B}" srcOrd="0" destOrd="0" presId="urn:microsoft.com/office/officeart/2005/8/layout/process1"/>
    <dgm:cxn modelId="{6F9B351B-75F0-4A56-93FE-E37A4D352970}" type="presParOf" srcId="{727F828D-A392-4E9D-B0C1-63EF8B2FCA21}" destId="{87F6872C-A9B6-4B3A-8557-4B96686DB96B}" srcOrd="1" destOrd="0" presId="urn:microsoft.com/office/officeart/2005/8/layout/process1"/>
    <dgm:cxn modelId="{9C0B9A9E-4579-4115-B0E7-8FC91A58418D}" type="presParOf" srcId="{87F6872C-A9B6-4B3A-8557-4B96686DB96B}" destId="{5BC3C9B2-4CD0-4D34-885B-967563B01F15}" srcOrd="0" destOrd="0" presId="urn:microsoft.com/office/officeart/2005/8/layout/process1"/>
    <dgm:cxn modelId="{B39ABD48-BCDC-44ED-8E99-EF5C488A6756}" type="presParOf" srcId="{727F828D-A392-4E9D-B0C1-63EF8B2FCA21}" destId="{49C38909-E911-4250-9895-393BAF3F30A2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96D3E0B-A75E-46A1-8243-40702D66F03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DE4DEAFB-DB42-4B1F-BEF5-83A5E964DA91}">
      <dgm:prSet phldrT="[Text]"/>
      <dgm:spPr/>
      <dgm:t>
        <a:bodyPr/>
        <a:lstStyle/>
        <a:p>
          <a:r>
            <a:rPr lang="es-419" dirty="0"/>
            <a:t>Ciberseguridad</a:t>
          </a:r>
          <a:endParaRPr lang="en-US" dirty="0"/>
        </a:p>
      </dgm:t>
    </dgm:pt>
    <dgm:pt modelId="{60C0EE76-64B7-41B1-BE45-324D40DEC2B3}" type="parTrans" cxnId="{575483F8-5C59-44A7-AB8A-57BB33115F72}">
      <dgm:prSet/>
      <dgm:spPr/>
      <dgm:t>
        <a:bodyPr/>
        <a:lstStyle/>
        <a:p>
          <a:endParaRPr lang="en-US"/>
        </a:p>
      </dgm:t>
    </dgm:pt>
    <dgm:pt modelId="{1CAEECE6-0069-4EFC-B08F-3FCD35E1996E}" type="sibTrans" cxnId="{575483F8-5C59-44A7-AB8A-57BB33115F72}">
      <dgm:prSet/>
      <dgm:spPr/>
      <dgm:t>
        <a:bodyPr/>
        <a:lstStyle/>
        <a:p>
          <a:endParaRPr lang="en-US"/>
        </a:p>
      </dgm:t>
    </dgm:pt>
    <dgm:pt modelId="{A1ED454B-A910-4AC8-A3F8-C5C17EC03616}">
      <dgm:prSet phldrT="[Text]" custT="1"/>
      <dgm:spPr/>
      <dgm:t>
        <a:bodyPr/>
        <a:lstStyle/>
        <a:p>
          <a:r>
            <a:rPr lang="es-419" sz="1600" dirty="0"/>
            <a:t>Tiempo y dinero</a:t>
          </a:r>
          <a:endParaRPr lang="en-US" sz="1600" dirty="0"/>
        </a:p>
      </dgm:t>
    </dgm:pt>
    <dgm:pt modelId="{8B470D02-E1F6-43D9-B348-DF8D1004BEC3}" type="parTrans" cxnId="{C85B9599-FACD-442F-8180-1BF4ACFDC294}">
      <dgm:prSet/>
      <dgm:spPr/>
      <dgm:t>
        <a:bodyPr/>
        <a:lstStyle/>
        <a:p>
          <a:endParaRPr lang="en-US"/>
        </a:p>
      </dgm:t>
    </dgm:pt>
    <dgm:pt modelId="{E4AA4D06-5F81-47B8-9F63-864EF38F9421}" type="sibTrans" cxnId="{C85B9599-FACD-442F-8180-1BF4ACFDC294}">
      <dgm:prSet/>
      <dgm:spPr/>
      <dgm:t>
        <a:bodyPr/>
        <a:lstStyle/>
        <a:p>
          <a:endParaRPr lang="en-US"/>
        </a:p>
      </dgm:t>
    </dgm:pt>
    <dgm:pt modelId="{727F828D-A392-4E9D-B0C1-63EF8B2FCA21}" type="pres">
      <dgm:prSet presAssocID="{C96D3E0B-A75E-46A1-8243-40702D66F033}" presName="Name0" presStyleCnt="0">
        <dgm:presLayoutVars>
          <dgm:dir/>
          <dgm:resizeHandles val="exact"/>
        </dgm:presLayoutVars>
      </dgm:prSet>
      <dgm:spPr/>
    </dgm:pt>
    <dgm:pt modelId="{30FC6821-4BEF-4018-9C5A-5FC5AAACDC2B}" type="pres">
      <dgm:prSet presAssocID="{DE4DEAFB-DB42-4B1F-BEF5-83A5E964DA91}" presName="node" presStyleLbl="node1" presStyleIdx="0" presStyleCnt="2">
        <dgm:presLayoutVars>
          <dgm:bulletEnabled val="1"/>
        </dgm:presLayoutVars>
      </dgm:prSet>
      <dgm:spPr/>
    </dgm:pt>
    <dgm:pt modelId="{87F6872C-A9B6-4B3A-8557-4B96686DB96B}" type="pres">
      <dgm:prSet presAssocID="{1CAEECE6-0069-4EFC-B08F-3FCD35E1996E}" presName="sibTrans" presStyleLbl="sibTrans2D1" presStyleIdx="0" presStyleCnt="1"/>
      <dgm:spPr/>
    </dgm:pt>
    <dgm:pt modelId="{5BC3C9B2-4CD0-4D34-885B-967563B01F15}" type="pres">
      <dgm:prSet presAssocID="{1CAEECE6-0069-4EFC-B08F-3FCD35E1996E}" presName="connectorText" presStyleLbl="sibTrans2D1" presStyleIdx="0" presStyleCnt="1"/>
      <dgm:spPr/>
    </dgm:pt>
    <dgm:pt modelId="{49C38909-E911-4250-9895-393BAF3F30A2}" type="pres">
      <dgm:prSet presAssocID="{A1ED454B-A910-4AC8-A3F8-C5C17EC03616}" presName="node" presStyleLbl="node1" presStyleIdx="1" presStyleCnt="2">
        <dgm:presLayoutVars>
          <dgm:bulletEnabled val="1"/>
        </dgm:presLayoutVars>
      </dgm:prSet>
      <dgm:spPr/>
    </dgm:pt>
  </dgm:ptLst>
  <dgm:cxnLst>
    <dgm:cxn modelId="{B80A5728-E2E1-4E46-BFEE-E3918D17206D}" type="presOf" srcId="{A1ED454B-A910-4AC8-A3F8-C5C17EC03616}" destId="{49C38909-E911-4250-9895-393BAF3F30A2}" srcOrd="0" destOrd="0" presId="urn:microsoft.com/office/officeart/2005/8/layout/process1"/>
    <dgm:cxn modelId="{86EE655D-67DA-4F35-A2CA-C067E9CC94CF}" type="presOf" srcId="{C96D3E0B-A75E-46A1-8243-40702D66F033}" destId="{727F828D-A392-4E9D-B0C1-63EF8B2FCA21}" srcOrd="0" destOrd="0" presId="urn:microsoft.com/office/officeart/2005/8/layout/process1"/>
    <dgm:cxn modelId="{26ED1C46-AD74-4FC4-AD39-0990819555B4}" type="presOf" srcId="{1CAEECE6-0069-4EFC-B08F-3FCD35E1996E}" destId="{5BC3C9B2-4CD0-4D34-885B-967563B01F15}" srcOrd="1" destOrd="0" presId="urn:microsoft.com/office/officeart/2005/8/layout/process1"/>
    <dgm:cxn modelId="{C85B9599-FACD-442F-8180-1BF4ACFDC294}" srcId="{C96D3E0B-A75E-46A1-8243-40702D66F033}" destId="{A1ED454B-A910-4AC8-A3F8-C5C17EC03616}" srcOrd="1" destOrd="0" parTransId="{8B470D02-E1F6-43D9-B348-DF8D1004BEC3}" sibTransId="{E4AA4D06-5F81-47B8-9F63-864EF38F9421}"/>
    <dgm:cxn modelId="{1D4701A6-1011-4D1C-A642-0EE471E4FBEF}" type="presOf" srcId="{1CAEECE6-0069-4EFC-B08F-3FCD35E1996E}" destId="{87F6872C-A9B6-4B3A-8557-4B96686DB96B}" srcOrd="0" destOrd="0" presId="urn:microsoft.com/office/officeart/2005/8/layout/process1"/>
    <dgm:cxn modelId="{F8E923E1-1971-4E93-A0F2-D86E912F8E32}" type="presOf" srcId="{DE4DEAFB-DB42-4B1F-BEF5-83A5E964DA91}" destId="{30FC6821-4BEF-4018-9C5A-5FC5AAACDC2B}" srcOrd="0" destOrd="0" presId="urn:microsoft.com/office/officeart/2005/8/layout/process1"/>
    <dgm:cxn modelId="{575483F8-5C59-44A7-AB8A-57BB33115F72}" srcId="{C96D3E0B-A75E-46A1-8243-40702D66F033}" destId="{DE4DEAFB-DB42-4B1F-BEF5-83A5E964DA91}" srcOrd="0" destOrd="0" parTransId="{60C0EE76-64B7-41B1-BE45-324D40DEC2B3}" sibTransId="{1CAEECE6-0069-4EFC-B08F-3FCD35E1996E}"/>
    <dgm:cxn modelId="{BC2BD16F-2F60-46EA-9F53-7F506F6D8E82}" type="presParOf" srcId="{727F828D-A392-4E9D-B0C1-63EF8B2FCA21}" destId="{30FC6821-4BEF-4018-9C5A-5FC5AAACDC2B}" srcOrd="0" destOrd="0" presId="urn:microsoft.com/office/officeart/2005/8/layout/process1"/>
    <dgm:cxn modelId="{6F9B351B-75F0-4A56-93FE-E37A4D352970}" type="presParOf" srcId="{727F828D-A392-4E9D-B0C1-63EF8B2FCA21}" destId="{87F6872C-A9B6-4B3A-8557-4B96686DB96B}" srcOrd="1" destOrd="0" presId="urn:microsoft.com/office/officeart/2005/8/layout/process1"/>
    <dgm:cxn modelId="{9C0B9A9E-4579-4115-B0E7-8FC91A58418D}" type="presParOf" srcId="{87F6872C-A9B6-4B3A-8557-4B96686DB96B}" destId="{5BC3C9B2-4CD0-4D34-885B-967563B01F15}" srcOrd="0" destOrd="0" presId="urn:microsoft.com/office/officeart/2005/8/layout/process1"/>
    <dgm:cxn modelId="{B39ABD48-BCDC-44ED-8E99-EF5C488A6756}" type="presParOf" srcId="{727F828D-A392-4E9D-B0C1-63EF8B2FCA21}" destId="{49C38909-E911-4250-9895-393BAF3F30A2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5ABD67B-5356-4C89-91E0-D929B479287C}" type="doc">
      <dgm:prSet loTypeId="urn:microsoft.com/office/officeart/2018/5/layout/CenteredIconLabelDescriptionList" loCatId="icon" qsTypeId="urn:microsoft.com/office/officeart/2005/8/quickstyle/simple4" qsCatId="simple" csTypeId="urn:microsoft.com/office/officeart/2018/5/colors/Iconchunking_neutralbg_colorful2" csCatId="colorful" phldr="1"/>
      <dgm:spPr/>
      <dgm:t>
        <a:bodyPr/>
        <a:lstStyle/>
        <a:p>
          <a:endParaRPr lang="en-US"/>
        </a:p>
      </dgm:t>
    </dgm:pt>
    <dgm:pt modelId="{8A23DF2D-E658-4245-83A7-6A9741D85071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s-MX" sz="2400" dirty="0"/>
            <a:t>Disponibilidad 100% del servicio</a:t>
          </a:r>
          <a:endParaRPr lang="en-US" sz="2400" dirty="0"/>
        </a:p>
      </dgm:t>
    </dgm:pt>
    <dgm:pt modelId="{704CCA70-F874-4CF8-8364-94C371D3B164}" type="parTrans" cxnId="{22EE6E84-4FA3-4456-966F-66A0CFE425A6}">
      <dgm:prSet/>
      <dgm:spPr/>
      <dgm:t>
        <a:bodyPr/>
        <a:lstStyle/>
        <a:p>
          <a:endParaRPr lang="en-US"/>
        </a:p>
      </dgm:t>
    </dgm:pt>
    <dgm:pt modelId="{3582D27B-EDD7-4656-9C13-6E3B107F94C5}" type="sibTrans" cxnId="{22EE6E84-4FA3-4456-966F-66A0CFE425A6}">
      <dgm:prSet/>
      <dgm:spPr/>
      <dgm:t>
        <a:bodyPr/>
        <a:lstStyle/>
        <a:p>
          <a:endParaRPr lang="en-US"/>
        </a:p>
      </dgm:t>
    </dgm:pt>
    <dgm:pt modelId="{06DB9E48-A3EA-4594-B153-6D406D4A238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419" sz="1600" noProof="0" dirty="0" err="1"/>
            <a:t>Anycast</a:t>
          </a:r>
          <a:r>
            <a:rPr lang="es-419" sz="1600" noProof="0" dirty="0"/>
            <a:t> en todos los nodos de DNS con 6 entidades: </a:t>
          </a:r>
          <a:r>
            <a:rPr lang="es-419" sz="1600" b="1" noProof="0" dirty="0"/>
            <a:t>m, e, x, i, c, o</a:t>
          </a:r>
        </a:p>
      </dgm:t>
    </dgm:pt>
    <dgm:pt modelId="{BF4FAAA6-BA79-43FC-995D-65B9CCF3FFE4}" type="parTrans" cxnId="{BD8E85E8-26C4-467C-BF40-82B368EFA1BE}">
      <dgm:prSet/>
      <dgm:spPr/>
      <dgm:t>
        <a:bodyPr/>
        <a:lstStyle/>
        <a:p>
          <a:endParaRPr lang="en-US"/>
        </a:p>
      </dgm:t>
    </dgm:pt>
    <dgm:pt modelId="{3408C86D-10A9-44E9-85B5-39E01F3C4341}" type="sibTrans" cxnId="{BD8E85E8-26C4-467C-BF40-82B368EFA1BE}">
      <dgm:prSet/>
      <dgm:spPr/>
      <dgm:t>
        <a:bodyPr/>
        <a:lstStyle/>
        <a:p>
          <a:endParaRPr lang="en-US"/>
        </a:p>
      </dgm:t>
    </dgm:pt>
    <dgm:pt modelId="{DC3F8CBC-6639-4529-B706-125D1FCC4B1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419" sz="1600" noProof="0" dirty="0"/>
            <a:t>7 nodos globales</a:t>
          </a:r>
        </a:p>
      </dgm:t>
    </dgm:pt>
    <dgm:pt modelId="{C353FB8B-A47A-4F0C-856E-F07BDC3C3CCE}" type="parTrans" cxnId="{779B2469-C818-45FA-A307-32F5EA598DE0}">
      <dgm:prSet/>
      <dgm:spPr/>
      <dgm:t>
        <a:bodyPr/>
        <a:lstStyle/>
        <a:p>
          <a:endParaRPr lang="en-US"/>
        </a:p>
      </dgm:t>
    </dgm:pt>
    <dgm:pt modelId="{B6562D93-E0AB-4BA8-9B5C-CAF2082A01E8}" type="sibTrans" cxnId="{779B2469-C818-45FA-A307-32F5EA598DE0}">
      <dgm:prSet/>
      <dgm:spPr/>
      <dgm:t>
        <a:bodyPr/>
        <a:lstStyle/>
        <a:p>
          <a:endParaRPr lang="en-US"/>
        </a:p>
      </dgm:t>
    </dgm:pt>
    <dgm:pt modelId="{158C2138-DC05-45C6-8DD3-5B314961D88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419" sz="1600" noProof="0" dirty="0"/>
            <a:t>2 nubes de </a:t>
          </a:r>
          <a:r>
            <a:rPr lang="es-419" sz="1600" noProof="0" dirty="0" err="1"/>
            <a:t>anycast</a:t>
          </a:r>
          <a:endParaRPr lang="es-419" sz="1600" noProof="0" dirty="0"/>
        </a:p>
        <a:p>
          <a:pPr>
            <a:lnSpc>
              <a:spcPct val="100000"/>
            </a:lnSpc>
          </a:pPr>
          <a:r>
            <a:rPr lang="es-MX" sz="1600" dirty="0"/>
            <a:t>Facilidad de agregar uno o varios servidores al pool.</a:t>
          </a:r>
          <a:endParaRPr lang="es-419" sz="1600" noProof="0" dirty="0"/>
        </a:p>
      </dgm:t>
    </dgm:pt>
    <dgm:pt modelId="{186BBD32-86AF-4B1D-A1DD-F3156666BB7C}" type="parTrans" cxnId="{1627831C-DCD9-443A-BD68-C5D233995AB7}">
      <dgm:prSet/>
      <dgm:spPr/>
      <dgm:t>
        <a:bodyPr/>
        <a:lstStyle/>
        <a:p>
          <a:endParaRPr lang="en-US"/>
        </a:p>
      </dgm:t>
    </dgm:pt>
    <dgm:pt modelId="{631A59E8-0DE7-410F-87E7-F0F49875E5E3}" type="sibTrans" cxnId="{1627831C-DCD9-443A-BD68-C5D233995AB7}">
      <dgm:prSet/>
      <dgm:spPr/>
      <dgm:t>
        <a:bodyPr/>
        <a:lstStyle/>
        <a:p>
          <a:endParaRPr lang="en-US"/>
        </a:p>
      </dgm:t>
    </dgm:pt>
    <dgm:pt modelId="{B66C7AD9-CE4E-4509-AF0E-7FF5D3C40150}">
      <dgm:prSet custT="1"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s-MX" sz="2400" dirty="0"/>
            <a:t>Evitar la </a:t>
          </a:r>
          <a:r>
            <a:rPr lang="es-MX" sz="2400" dirty="0" err="1"/>
            <a:t>monocultura</a:t>
          </a:r>
          <a:endParaRPr lang="en-US" sz="2400" dirty="0"/>
        </a:p>
      </dgm:t>
    </dgm:pt>
    <dgm:pt modelId="{5263F72E-1EDD-44BA-9E82-44F581D0D7C8}" type="parTrans" cxnId="{F62FFB52-5126-425F-9BF6-57789E98C136}">
      <dgm:prSet/>
      <dgm:spPr/>
      <dgm:t>
        <a:bodyPr/>
        <a:lstStyle/>
        <a:p>
          <a:endParaRPr lang="en-US"/>
        </a:p>
      </dgm:t>
    </dgm:pt>
    <dgm:pt modelId="{366607F9-2958-48C4-86FF-73FFE7E6413A}" type="sibTrans" cxnId="{F62FFB52-5126-425F-9BF6-57789E98C136}">
      <dgm:prSet/>
      <dgm:spPr/>
      <dgm:t>
        <a:bodyPr/>
        <a:lstStyle/>
        <a:p>
          <a:endParaRPr lang="en-US"/>
        </a:p>
      </dgm:t>
    </dgm:pt>
    <dgm:pt modelId="{2EC1E32B-0004-426D-A312-5266186C072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419" sz="1600" b="1" noProof="0" dirty="0"/>
            <a:t>Sistemas operativos</a:t>
          </a:r>
          <a:r>
            <a:rPr lang="es-419" sz="1400" b="1" noProof="0" dirty="0"/>
            <a:t>: </a:t>
          </a:r>
        </a:p>
        <a:p>
          <a:pPr>
            <a:lnSpc>
              <a:spcPct val="100000"/>
            </a:lnSpc>
          </a:pPr>
          <a:r>
            <a:rPr lang="es-419" sz="1400" noProof="0" dirty="0"/>
            <a:t>FreeBSD, </a:t>
          </a:r>
          <a:r>
            <a:rPr lang="es-419" sz="1400" noProof="0" dirty="0" err="1"/>
            <a:t>Redhat</a:t>
          </a:r>
          <a:r>
            <a:rPr lang="es-419" sz="1400" noProof="0" dirty="0"/>
            <a:t> Linux, Ubuntu Linux.</a:t>
          </a:r>
        </a:p>
      </dgm:t>
    </dgm:pt>
    <dgm:pt modelId="{867DB096-CA2E-4482-8D05-55750BDD3629}" type="parTrans" cxnId="{38E3C8E0-B32B-43CA-902D-DDC5C4089F98}">
      <dgm:prSet/>
      <dgm:spPr/>
      <dgm:t>
        <a:bodyPr/>
        <a:lstStyle/>
        <a:p>
          <a:endParaRPr lang="en-US"/>
        </a:p>
      </dgm:t>
    </dgm:pt>
    <dgm:pt modelId="{54889C8E-4223-467A-898F-63F1A4298DCB}" type="sibTrans" cxnId="{38E3C8E0-B32B-43CA-902D-DDC5C4089F98}">
      <dgm:prSet/>
      <dgm:spPr/>
      <dgm:t>
        <a:bodyPr/>
        <a:lstStyle/>
        <a:p>
          <a:endParaRPr lang="en-US"/>
        </a:p>
      </dgm:t>
    </dgm:pt>
    <dgm:pt modelId="{8E920E0F-32AD-4A68-B89F-B7788B3502E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419" sz="1400" b="1" noProof="0" dirty="0"/>
            <a:t>Arquitecturas de hardware:</a:t>
          </a:r>
        </a:p>
        <a:p>
          <a:pPr>
            <a:lnSpc>
              <a:spcPct val="100000"/>
            </a:lnSpc>
          </a:pPr>
          <a:r>
            <a:rPr lang="es-419" sz="1400" noProof="0" dirty="0"/>
            <a:t>Intel x86 / Nube</a:t>
          </a:r>
        </a:p>
      </dgm:t>
    </dgm:pt>
    <dgm:pt modelId="{C8396949-E7DA-4389-B703-A26AE7E781EE}" type="parTrans" cxnId="{19C2A2C7-B1F0-4500-99C1-4739FD3BD6C9}">
      <dgm:prSet/>
      <dgm:spPr/>
      <dgm:t>
        <a:bodyPr/>
        <a:lstStyle/>
        <a:p>
          <a:endParaRPr lang="en-US"/>
        </a:p>
      </dgm:t>
    </dgm:pt>
    <dgm:pt modelId="{1B1AAD90-37C6-4ACA-9D3D-A5F809FE3460}" type="sibTrans" cxnId="{19C2A2C7-B1F0-4500-99C1-4739FD3BD6C9}">
      <dgm:prSet/>
      <dgm:spPr/>
      <dgm:t>
        <a:bodyPr/>
        <a:lstStyle/>
        <a:p>
          <a:endParaRPr lang="en-US"/>
        </a:p>
      </dgm:t>
    </dgm:pt>
    <dgm:pt modelId="{26478E98-6BA5-4674-B030-7D691A7C588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419" sz="1400" b="1" noProof="0" dirty="0"/>
            <a:t>Implementaciones de DNS</a:t>
          </a:r>
        </a:p>
        <a:p>
          <a:pPr>
            <a:lnSpc>
              <a:spcPct val="100000"/>
            </a:lnSpc>
          </a:pPr>
          <a:r>
            <a:rPr lang="es-419" sz="1400" noProof="0" dirty="0"/>
            <a:t>BIND, NSD</a:t>
          </a:r>
        </a:p>
      </dgm:t>
    </dgm:pt>
    <dgm:pt modelId="{9322CD4E-08C1-418F-8B11-8F8A1F826FE5}" type="parTrans" cxnId="{15D41370-2E8D-46E9-B232-334C645EC46F}">
      <dgm:prSet/>
      <dgm:spPr/>
      <dgm:t>
        <a:bodyPr/>
        <a:lstStyle/>
        <a:p>
          <a:endParaRPr lang="en-US"/>
        </a:p>
      </dgm:t>
    </dgm:pt>
    <dgm:pt modelId="{B06C3742-DC80-4001-AF50-2C0107CF6409}" type="sibTrans" cxnId="{15D41370-2E8D-46E9-B232-334C645EC46F}">
      <dgm:prSet/>
      <dgm:spPr/>
      <dgm:t>
        <a:bodyPr/>
        <a:lstStyle/>
        <a:p>
          <a:endParaRPr lang="en-US"/>
        </a:p>
      </dgm:t>
    </dgm:pt>
    <dgm:pt modelId="{64C8D0B9-65E0-40EF-BFFD-C02FA9AF6147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419" sz="1400" b="1" noProof="0" dirty="0"/>
            <a:t>Firewalls</a:t>
          </a:r>
        </a:p>
        <a:p>
          <a:pPr>
            <a:lnSpc>
              <a:spcPct val="100000"/>
            </a:lnSpc>
          </a:pPr>
          <a:r>
            <a:rPr lang="es-419" sz="1400" noProof="0" dirty="0" err="1"/>
            <a:t>IPTables</a:t>
          </a:r>
          <a:r>
            <a:rPr lang="es-419" sz="1400" noProof="0" dirty="0"/>
            <a:t>, PF, IPFW</a:t>
          </a:r>
        </a:p>
      </dgm:t>
    </dgm:pt>
    <dgm:pt modelId="{6940104A-C5B5-40AE-8A9C-DE3D0C9D225E}" type="parTrans" cxnId="{EDE76EFF-9C61-4442-A3E8-F893443437E4}">
      <dgm:prSet/>
      <dgm:spPr/>
      <dgm:t>
        <a:bodyPr/>
        <a:lstStyle/>
        <a:p>
          <a:endParaRPr lang="en-US"/>
        </a:p>
      </dgm:t>
    </dgm:pt>
    <dgm:pt modelId="{67E9B59D-4281-47E7-A5B3-41BBDA506528}" type="sibTrans" cxnId="{EDE76EFF-9C61-4442-A3E8-F893443437E4}">
      <dgm:prSet/>
      <dgm:spPr/>
      <dgm:t>
        <a:bodyPr/>
        <a:lstStyle/>
        <a:p>
          <a:endParaRPr lang="en-US"/>
        </a:p>
      </dgm:t>
    </dgm:pt>
    <dgm:pt modelId="{8686BB65-6BA6-48D0-BEFD-D88DD442A5F0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s-419" sz="1400" b="1" noProof="0" dirty="0"/>
            <a:t>Implementaciones de Ruteo</a:t>
          </a:r>
        </a:p>
        <a:p>
          <a:pPr>
            <a:lnSpc>
              <a:spcPct val="100000"/>
            </a:lnSpc>
          </a:pPr>
          <a:r>
            <a:rPr lang="es-419" sz="1400" noProof="0" dirty="0" err="1"/>
            <a:t>Quagga</a:t>
          </a:r>
          <a:r>
            <a:rPr lang="es-419" sz="1400" noProof="0" dirty="0"/>
            <a:t>, FRR, Cisco IOS</a:t>
          </a:r>
        </a:p>
      </dgm:t>
    </dgm:pt>
    <dgm:pt modelId="{9C722A9A-0915-4EF9-821C-9067CBC31535}" type="parTrans" cxnId="{5A79EC67-D862-49F7-8A5A-8F9F48FD3D6C}">
      <dgm:prSet/>
      <dgm:spPr/>
      <dgm:t>
        <a:bodyPr/>
        <a:lstStyle/>
        <a:p>
          <a:endParaRPr lang="en-US"/>
        </a:p>
      </dgm:t>
    </dgm:pt>
    <dgm:pt modelId="{7C6615E0-55C4-4A3E-AB06-9756FF2EBC86}" type="sibTrans" cxnId="{5A79EC67-D862-49F7-8A5A-8F9F48FD3D6C}">
      <dgm:prSet/>
      <dgm:spPr/>
      <dgm:t>
        <a:bodyPr/>
        <a:lstStyle/>
        <a:p>
          <a:endParaRPr lang="en-US"/>
        </a:p>
      </dgm:t>
    </dgm:pt>
    <dgm:pt modelId="{9D082DAF-E63D-4161-A0AD-C5C833EA7BB5}">
      <dgm:prSet custT="1"/>
      <dgm:spPr/>
      <dgm:t>
        <a:bodyPr/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s-419" sz="2400" b="1" kern="1200" noProof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Mejores tiempos de respuesta y gestión</a:t>
          </a:r>
        </a:p>
      </dgm:t>
    </dgm:pt>
    <dgm:pt modelId="{3C6EF1B1-A68F-41B8-B86F-6C4E8CEEBD32}" type="parTrans" cxnId="{6E50C70D-5D99-4294-A6C9-E9B045D55ADC}">
      <dgm:prSet/>
      <dgm:spPr/>
      <dgm:t>
        <a:bodyPr/>
        <a:lstStyle/>
        <a:p>
          <a:endParaRPr lang="en-US"/>
        </a:p>
      </dgm:t>
    </dgm:pt>
    <dgm:pt modelId="{9949FE8C-AB86-4ECF-90A5-C1D5DB9D0183}" type="sibTrans" cxnId="{6E50C70D-5D99-4294-A6C9-E9B045D55ADC}">
      <dgm:prSet/>
      <dgm:spPr/>
      <dgm:t>
        <a:bodyPr/>
        <a:lstStyle/>
        <a:p>
          <a:endParaRPr lang="en-US"/>
        </a:p>
      </dgm:t>
    </dgm:pt>
    <dgm:pt modelId="{9C110428-9474-42AF-B29B-52A274D2DF23}">
      <dgm:prSet custT="1"/>
      <dgm:spPr/>
      <dgm:t>
        <a:bodyPr/>
        <a:lstStyle/>
        <a:p>
          <a:pPr algn="ctr">
            <a:lnSpc>
              <a:spcPct val="100000"/>
            </a:lnSpc>
            <a:buFont typeface="Arial" panose="020B0604020202020204" pitchFamily="34" charset="0"/>
            <a:buChar char="•"/>
          </a:pPr>
          <a:r>
            <a:rPr lang="es-MX" sz="1400" kern="1200" dirty="0"/>
            <a:t>Completo control del sistema de DNS</a:t>
          </a:r>
          <a:endParaRPr lang="es-419" sz="1400" kern="1200" noProof="0" dirty="0"/>
        </a:p>
      </dgm:t>
    </dgm:pt>
    <dgm:pt modelId="{710247CC-D036-486B-B19B-01255DAC8B7C}" type="parTrans" cxnId="{EAC9991B-24D0-4FEC-A0C3-7B72C7738CC3}">
      <dgm:prSet/>
      <dgm:spPr/>
      <dgm:t>
        <a:bodyPr/>
        <a:lstStyle/>
        <a:p>
          <a:endParaRPr lang="en-US"/>
        </a:p>
      </dgm:t>
    </dgm:pt>
    <dgm:pt modelId="{DA9CA547-14BF-45D7-9084-138115FEC4F3}" type="sibTrans" cxnId="{EAC9991B-24D0-4FEC-A0C3-7B72C7738CC3}">
      <dgm:prSet/>
      <dgm:spPr/>
      <dgm:t>
        <a:bodyPr/>
        <a:lstStyle/>
        <a:p>
          <a:endParaRPr lang="en-US"/>
        </a:p>
      </dgm:t>
    </dgm:pt>
    <dgm:pt modelId="{AB19FF93-EF2D-4C3C-83B3-53B3D84EE821}">
      <dgm:prSet custT="1"/>
      <dgm:spPr/>
      <dgm:t>
        <a:bodyPr/>
        <a:lstStyle/>
        <a:p>
          <a:pPr algn="ctr">
            <a:lnSpc>
              <a:spcPct val="100000"/>
            </a:lnSpc>
            <a:buFont typeface="Arial" panose="020B0604020202020204" pitchFamily="34" charset="0"/>
            <a:buChar char="•"/>
          </a:pPr>
          <a:r>
            <a:rPr lang="es-MX" sz="1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Acceso redundante a todos los servidores:</a:t>
          </a:r>
          <a:br>
            <a:rPr lang="es-MX" sz="1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</a:br>
          <a:r>
            <a:rPr lang="es-MX" sz="1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SH y KVM sobre Internet</a:t>
          </a:r>
          <a:endParaRPr lang="en-US" sz="14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/>
            <a:ea typeface="+mn-ea"/>
            <a:cs typeface="+mn-cs"/>
          </a:endParaRPr>
        </a:p>
      </dgm:t>
    </dgm:pt>
    <dgm:pt modelId="{900820DB-4355-4F39-9C2B-7951F18FD5FE}" type="parTrans" cxnId="{475890D1-DB3B-4A0F-91B4-BA962839DC59}">
      <dgm:prSet/>
      <dgm:spPr/>
      <dgm:t>
        <a:bodyPr/>
        <a:lstStyle/>
        <a:p>
          <a:endParaRPr lang="en-US"/>
        </a:p>
      </dgm:t>
    </dgm:pt>
    <dgm:pt modelId="{DC31C965-A740-4C8C-91BA-168AD05DA44C}" type="sibTrans" cxnId="{475890D1-DB3B-4A0F-91B4-BA962839DC59}">
      <dgm:prSet/>
      <dgm:spPr/>
      <dgm:t>
        <a:bodyPr/>
        <a:lstStyle/>
        <a:p>
          <a:endParaRPr lang="en-US"/>
        </a:p>
      </dgm:t>
    </dgm:pt>
    <dgm:pt modelId="{81B4C0AB-4A46-4EBE-9A57-8155F3FB9BED}">
      <dgm:prSet custT="1"/>
      <dgm:spPr/>
      <dgm:t>
        <a:bodyPr/>
        <a:lstStyle/>
        <a:p>
          <a:pPr algn="ctr">
            <a:lnSpc>
              <a:spcPct val="100000"/>
            </a:lnSpc>
            <a:buFont typeface="Arial" panose="020B0604020202020204" pitchFamily="34" charset="0"/>
            <a:buChar char="•"/>
          </a:pPr>
          <a:r>
            <a:rPr lang="es-MX" sz="1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Almacenamiento de los archivos de zonas en un folder cifrado</a:t>
          </a:r>
          <a:endParaRPr lang="en-US" sz="14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/>
            <a:ea typeface="+mn-ea"/>
            <a:cs typeface="+mn-cs"/>
          </a:endParaRPr>
        </a:p>
      </dgm:t>
    </dgm:pt>
    <dgm:pt modelId="{45A642E4-D28A-4E04-9EDD-2810153F6CA9}" type="parTrans" cxnId="{417BDE11-F445-410C-AB4E-F184EFE79BDA}">
      <dgm:prSet/>
      <dgm:spPr/>
      <dgm:t>
        <a:bodyPr/>
        <a:lstStyle/>
        <a:p>
          <a:endParaRPr lang="en-US"/>
        </a:p>
      </dgm:t>
    </dgm:pt>
    <dgm:pt modelId="{97FF2E72-88CB-49FA-A201-FAAC7FB27A61}" type="sibTrans" cxnId="{417BDE11-F445-410C-AB4E-F184EFE79BDA}">
      <dgm:prSet/>
      <dgm:spPr/>
      <dgm:t>
        <a:bodyPr/>
        <a:lstStyle/>
        <a:p>
          <a:endParaRPr lang="en-US"/>
        </a:p>
      </dgm:t>
    </dgm:pt>
    <dgm:pt modelId="{A5F801C3-9E50-4E80-A832-6B797DCDEEE8}" type="pres">
      <dgm:prSet presAssocID="{95ABD67B-5356-4C89-91E0-D929B479287C}" presName="root" presStyleCnt="0">
        <dgm:presLayoutVars>
          <dgm:dir/>
          <dgm:resizeHandles val="exact"/>
        </dgm:presLayoutVars>
      </dgm:prSet>
      <dgm:spPr/>
    </dgm:pt>
    <dgm:pt modelId="{EE59A622-6E4D-4FEB-8EFF-70616004B939}" type="pres">
      <dgm:prSet presAssocID="{8A23DF2D-E658-4245-83A7-6A9741D85071}" presName="compNode" presStyleCnt="0"/>
      <dgm:spPr/>
    </dgm:pt>
    <dgm:pt modelId="{108BC387-A66D-4AD7-A2BC-E778CCA539E4}" type="pres">
      <dgm:prSet presAssocID="{8A23DF2D-E658-4245-83A7-6A9741D85071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n"/>
        </a:ext>
      </dgm:extLst>
    </dgm:pt>
    <dgm:pt modelId="{04519B67-ECA8-4E62-98C9-7EDC9A543FFD}" type="pres">
      <dgm:prSet presAssocID="{8A23DF2D-E658-4245-83A7-6A9741D85071}" presName="iconSpace" presStyleCnt="0"/>
      <dgm:spPr/>
    </dgm:pt>
    <dgm:pt modelId="{5E9EC0DB-7CD0-48D5-8FC3-F521BD480594}" type="pres">
      <dgm:prSet presAssocID="{8A23DF2D-E658-4245-83A7-6A9741D85071}" presName="parTx" presStyleLbl="revTx" presStyleIdx="0" presStyleCnt="6">
        <dgm:presLayoutVars>
          <dgm:chMax val="0"/>
          <dgm:chPref val="0"/>
        </dgm:presLayoutVars>
      </dgm:prSet>
      <dgm:spPr/>
    </dgm:pt>
    <dgm:pt modelId="{A941405C-1F94-4EBA-9159-4310593700F9}" type="pres">
      <dgm:prSet presAssocID="{8A23DF2D-E658-4245-83A7-6A9741D85071}" presName="txSpace" presStyleCnt="0"/>
      <dgm:spPr/>
    </dgm:pt>
    <dgm:pt modelId="{398F586F-041E-4274-A4E3-7BAA11FBED7C}" type="pres">
      <dgm:prSet presAssocID="{8A23DF2D-E658-4245-83A7-6A9741D85071}" presName="desTx" presStyleLbl="revTx" presStyleIdx="1" presStyleCnt="6" custScaleX="125504">
        <dgm:presLayoutVars/>
      </dgm:prSet>
      <dgm:spPr/>
    </dgm:pt>
    <dgm:pt modelId="{21756C14-8E72-441A-B843-7834509928A3}" type="pres">
      <dgm:prSet presAssocID="{3582D27B-EDD7-4656-9C13-6E3B107F94C5}" presName="sibTrans" presStyleCnt="0"/>
      <dgm:spPr/>
    </dgm:pt>
    <dgm:pt modelId="{05ED8287-9D4D-4692-B5B4-89E1FEC969B0}" type="pres">
      <dgm:prSet presAssocID="{B66C7AD9-CE4E-4509-AF0E-7FF5D3C40150}" presName="compNode" presStyleCnt="0"/>
      <dgm:spPr/>
    </dgm:pt>
    <dgm:pt modelId="{9084738A-F751-4CBC-978A-FAD24D8F7693}" type="pres">
      <dgm:prSet presAssocID="{B66C7AD9-CE4E-4509-AF0E-7FF5D3C40150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eaf"/>
        </a:ext>
      </dgm:extLst>
    </dgm:pt>
    <dgm:pt modelId="{E7BBF60A-345B-4147-A65E-2A8B0B3FF7CC}" type="pres">
      <dgm:prSet presAssocID="{B66C7AD9-CE4E-4509-AF0E-7FF5D3C40150}" presName="iconSpace" presStyleCnt="0"/>
      <dgm:spPr/>
    </dgm:pt>
    <dgm:pt modelId="{1C11E4FA-FE19-4488-B983-B172767352C0}" type="pres">
      <dgm:prSet presAssocID="{B66C7AD9-CE4E-4509-AF0E-7FF5D3C40150}" presName="parTx" presStyleLbl="revTx" presStyleIdx="2" presStyleCnt="6">
        <dgm:presLayoutVars>
          <dgm:chMax val="0"/>
          <dgm:chPref val="0"/>
        </dgm:presLayoutVars>
      </dgm:prSet>
      <dgm:spPr/>
    </dgm:pt>
    <dgm:pt modelId="{00C6FCD9-4348-4390-A0E7-9D8207CFD0A1}" type="pres">
      <dgm:prSet presAssocID="{B66C7AD9-CE4E-4509-AF0E-7FF5D3C40150}" presName="txSpace" presStyleCnt="0"/>
      <dgm:spPr/>
    </dgm:pt>
    <dgm:pt modelId="{3C352BA4-C619-43D6-B6E2-138649F16D3E}" type="pres">
      <dgm:prSet presAssocID="{B66C7AD9-CE4E-4509-AF0E-7FF5D3C40150}" presName="desTx" presStyleLbl="revTx" presStyleIdx="3" presStyleCnt="6" custLinFactNeighborX="-659" custLinFactNeighborY="-4184">
        <dgm:presLayoutVars/>
      </dgm:prSet>
      <dgm:spPr/>
    </dgm:pt>
    <dgm:pt modelId="{B434F769-4942-4B7E-A0D7-8D3E5906B699}" type="pres">
      <dgm:prSet presAssocID="{366607F9-2958-48C4-86FF-73FFE7E6413A}" presName="sibTrans" presStyleCnt="0"/>
      <dgm:spPr/>
    </dgm:pt>
    <dgm:pt modelId="{D483B868-49D5-428E-8490-BCF56E0DF897}" type="pres">
      <dgm:prSet presAssocID="{9D082DAF-E63D-4161-A0AD-C5C833EA7BB5}" presName="compNode" presStyleCnt="0"/>
      <dgm:spPr/>
    </dgm:pt>
    <dgm:pt modelId="{30214991-8382-491F-A784-5C689FBF74CF}" type="pres">
      <dgm:prSet presAssocID="{9D082DAF-E63D-4161-A0AD-C5C833EA7BB5}" presName="iconRect" presStyleLbl="node1" presStyleIdx="2" presStyleCnt="3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/>
          </a:stretch>
        </a:blipFill>
      </dgm:spPr>
    </dgm:pt>
    <dgm:pt modelId="{AD92BE4F-5E28-4ABE-B682-4FA274FF40B8}" type="pres">
      <dgm:prSet presAssocID="{9D082DAF-E63D-4161-A0AD-C5C833EA7BB5}" presName="iconSpace" presStyleCnt="0"/>
      <dgm:spPr/>
    </dgm:pt>
    <dgm:pt modelId="{805FAC6C-416A-421C-BF78-929E4DBB5202}" type="pres">
      <dgm:prSet presAssocID="{9D082DAF-E63D-4161-A0AD-C5C833EA7BB5}" presName="parTx" presStyleLbl="revTx" presStyleIdx="4" presStyleCnt="6">
        <dgm:presLayoutVars>
          <dgm:chMax val="0"/>
          <dgm:chPref val="0"/>
        </dgm:presLayoutVars>
      </dgm:prSet>
      <dgm:spPr/>
    </dgm:pt>
    <dgm:pt modelId="{01BD25DD-17DA-4F95-9A54-4BF611A0A401}" type="pres">
      <dgm:prSet presAssocID="{9D082DAF-E63D-4161-A0AD-C5C833EA7BB5}" presName="txSpace" presStyleCnt="0"/>
      <dgm:spPr/>
    </dgm:pt>
    <dgm:pt modelId="{45102E2B-F7E4-48F9-B95D-823541A7144E}" type="pres">
      <dgm:prSet presAssocID="{9D082DAF-E63D-4161-A0AD-C5C833EA7BB5}" presName="desTx" presStyleLbl="revTx" presStyleIdx="5" presStyleCnt="6">
        <dgm:presLayoutVars/>
      </dgm:prSet>
      <dgm:spPr/>
    </dgm:pt>
  </dgm:ptLst>
  <dgm:cxnLst>
    <dgm:cxn modelId="{6E50C70D-5D99-4294-A6C9-E9B045D55ADC}" srcId="{95ABD67B-5356-4C89-91E0-D929B479287C}" destId="{9D082DAF-E63D-4161-A0AD-C5C833EA7BB5}" srcOrd="2" destOrd="0" parTransId="{3C6EF1B1-A68F-41B8-B86F-6C4E8CEEBD32}" sibTransId="{9949FE8C-AB86-4ECF-90A5-C1D5DB9D0183}"/>
    <dgm:cxn modelId="{417BDE11-F445-410C-AB4E-F184EFE79BDA}" srcId="{9D082DAF-E63D-4161-A0AD-C5C833EA7BB5}" destId="{81B4C0AB-4A46-4EBE-9A57-8155F3FB9BED}" srcOrd="2" destOrd="0" parTransId="{45A642E4-D28A-4E04-9EDD-2810153F6CA9}" sibTransId="{97FF2E72-88CB-49FA-A201-FAAC7FB27A61}"/>
    <dgm:cxn modelId="{EAC9991B-24D0-4FEC-A0C3-7B72C7738CC3}" srcId="{9D082DAF-E63D-4161-A0AD-C5C833EA7BB5}" destId="{9C110428-9474-42AF-B29B-52A274D2DF23}" srcOrd="0" destOrd="0" parTransId="{710247CC-D036-486B-B19B-01255DAC8B7C}" sibTransId="{DA9CA547-14BF-45D7-9084-138115FEC4F3}"/>
    <dgm:cxn modelId="{1627831C-DCD9-443A-BD68-C5D233995AB7}" srcId="{8A23DF2D-E658-4245-83A7-6A9741D85071}" destId="{158C2138-DC05-45C6-8DD3-5B314961D882}" srcOrd="2" destOrd="0" parTransId="{186BBD32-86AF-4B1D-A1DD-F3156666BB7C}" sibTransId="{631A59E8-0DE7-410F-87E7-F0F49875E5E3}"/>
    <dgm:cxn modelId="{1A7DBD2B-4147-4733-89F5-4236FFE1D6F1}" type="presOf" srcId="{95ABD67B-5356-4C89-91E0-D929B479287C}" destId="{A5F801C3-9E50-4E80-A832-6B797DCDEEE8}" srcOrd="0" destOrd="0" presId="urn:microsoft.com/office/officeart/2018/5/layout/CenteredIconLabelDescriptionList"/>
    <dgm:cxn modelId="{217B3F32-EDC0-45CC-A36B-9A4F4D79A932}" type="presOf" srcId="{9D082DAF-E63D-4161-A0AD-C5C833EA7BB5}" destId="{805FAC6C-416A-421C-BF78-929E4DBB5202}" srcOrd="0" destOrd="0" presId="urn:microsoft.com/office/officeart/2018/5/layout/CenteredIconLabelDescriptionList"/>
    <dgm:cxn modelId="{E13D385D-719D-496B-A6B3-A00EEC5B9966}" type="presOf" srcId="{26478E98-6BA5-4674-B030-7D691A7C588B}" destId="{3C352BA4-C619-43D6-B6E2-138649F16D3E}" srcOrd="0" destOrd="2" presId="urn:microsoft.com/office/officeart/2018/5/layout/CenteredIconLabelDescriptionList"/>
    <dgm:cxn modelId="{5A79EC67-D862-49F7-8A5A-8F9F48FD3D6C}" srcId="{B66C7AD9-CE4E-4509-AF0E-7FF5D3C40150}" destId="{8686BB65-6BA6-48D0-BEFD-D88DD442A5F0}" srcOrd="4" destOrd="0" parTransId="{9C722A9A-0915-4EF9-821C-9067CBC31535}" sibTransId="{7C6615E0-55C4-4A3E-AB06-9756FF2EBC86}"/>
    <dgm:cxn modelId="{CAAAED48-E906-4D21-AED2-9A19CE940405}" type="presOf" srcId="{8686BB65-6BA6-48D0-BEFD-D88DD442A5F0}" destId="{3C352BA4-C619-43D6-B6E2-138649F16D3E}" srcOrd="0" destOrd="4" presId="urn:microsoft.com/office/officeart/2018/5/layout/CenteredIconLabelDescriptionList"/>
    <dgm:cxn modelId="{779B2469-C818-45FA-A307-32F5EA598DE0}" srcId="{8A23DF2D-E658-4245-83A7-6A9741D85071}" destId="{DC3F8CBC-6639-4529-B706-125D1FCC4B1F}" srcOrd="1" destOrd="0" parTransId="{C353FB8B-A47A-4F0C-856E-F07BDC3C3CCE}" sibTransId="{B6562D93-E0AB-4BA8-9B5C-CAF2082A01E8}"/>
    <dgm:cxn modelId="{C3B66C6A-3DE5-49E9-B43D-2933F3D66D73}" type="presOf" srcId="{06DB9E48-A3EA-4594-B153-6D406D4A2384}" destId="{398F586F-041E-4274-A4E3-7BAA11FBED7C}" srcOrd="0" destOrd="0" presId="urn:microsoft.com/office/officeart/2018/5/layout/CenteredIconLabelDescriptionList"/>
    <dgm:cxn modelId="{15D41370-2E8D-46E9-B232-334C645EC46F}" srcId="{B66C7AD9-CE4E-4509-AF0E-7FF5D3C40150}" destId="{26478E98-6BA5-4674-B030-7D691A7C588B}" srcOrd="2" destOrd="0" parTransId="{9322CD4E-08C1-418F-8B11-8F8A1F826FE5}" sibTransId="{B06C3742-DC80-4001-AF50-2C0107CF6409}"/>
    <dgm:cxn modelId="{5558E970-593A-4280-936A-A3F95C48CF45}" type="presOf" srcId="{DC3F8CBC-6639-4529-B706-125D1FCC4B1F}" destId="{398F586F-041E-4274-A4E3-7BAA11FBED7C}" srcOrd="0" destOrd="1" presId="urn:microsoft.com/office/officeart/2018/5/layout/CenteredIconLabelDescriptionList"/>
    <dgm:cxn modelId="{F62FFB52-5126-425F-9BF6-57789E98C136}" srcId="{95ABD67B-5356-4C89-91E0-D929B479287C}" destId="{B66C7AD9-CE4E-4509-AF0E-7FF5D3C40150}" srcOrd="1" destOrd="0" parTransId="{5263F72E-1EDD-44BA-9E82-44F581D0D7C8}" sibTransId="{366607F9-2958-48C4-86FF-73FFE7E6413A}"/>
    <dgm:cxn modelId="{C688EB7A-8B9F-4F18-B575-6340382EDB75}" type="presOf" srcId="{AB19FF93-EF2D-4C3C-83B3-53B3D84EE821}" destId="{45102E2B-F7E4-48F9-B95D-823541A7144E}" srcOrd="0" destOrd="1" presId="urn:microsoft.com/office/officeart/2018/5/layout/CenteredIconLabelDescriptionList"/>
    <dgm:cxn modelId="{22EE6E84-4FA3-4456-966F-66A0CFE425A6}" srcId="{95ABD67B-5356-4C89-91E0-D929B479287C}" destId="{8A23DF2D-E658-4245-83A7-6A9741D85071}" srcOrd="0" destOrd="0" parTransId="{704CCA70-F874-4CF8-8364-94C371D3B164}" sibTransId="{3582D27B-EDD7-4656-9C13-6E3B107F94C5}"/>
    <dgm:cxn modelId="{967EF885-C4A1-49A3-B565-FCC855B53F41}" type="presOf" srcId="{81B4C0AB-4A46-4EBE-9A57-8155F3FB9BED}" destId="{45102E2B-F7E4-48F9-B95D-823541A7144E}" srcOrd="0" destOrd="2" presId="urn:microsoft.com/office/officeart/2018/5/layout/CenteredIconLabelDescriptionList"/>
    <dgm:cxn modelId="{89578893-046E-475A-9E0D-B9AD2E0CD83F}" type="presOf" srcId="{B66C7AD9-CE4E-4509-AF0E-7FF5D3C40150}" destId="{1C11E4FA-FE19-4488-B983-B172767352C0}" srcOrd="0" destOrd="0" presId="urn:microsoft.com/office/officeart/2018/5/layout/CenteredIconLabelDescriptionList"/>
    <dgm:cxn modelId="{DE0D6C9A-3E6D-4DD9-8243-D1C83C558CBC}" type="presOf" srcId="{158C2138-DC05-45C6-8DD3-5B314961D882}" destId="{398F586F-041E-4274-A4E3-7BAA11FBED7C}" srcOrd="0" destOrd="2" presId="urn:microsoft.com/office/officeart/2018/5/layout/CenteredIconLabelDescriptionList"/>
    <dgm:cxn modelId="{1491E29C-BADC-485E-B842-7EE868EDE9B7}" type="presOf" srcId="{8A23DF2D-E658-4245-83A7-6A9741D85071}" destId="{5E9EC0DB-7CD0-48D5-8FC3-F521BD480594}" srcOrd="0" destOrd="0" presId="urn:microsoft.com/office/officeart/2018/5/layout/CenteredIconLabelDescriptionList"/>
    <dgm:cxn modelId="{BDEEF8C6-428D-4302-BEE3-6C2218C6DE0C}" type="presOf" srcId="{8E920E0F-32AD-4A68-B89F-B7788B3502E8}" destId="{3C352BA4-C619-43D6-B6E2-138649F16D3E}" srcOrd="0" destOrd="1" presId="urn:microsoft.com/office/officeart/2018/5/layout/CenteredIconLabelDescriptionList"/>
    <dgm:cxn modelId="{19C2A2C7-B1F0-4500-99C1-4739FD3BD6C9}" srcId="{B66C7AD9-CE4E-4509-AF0E-7FF5D3C40150}" destId="{8E920E0F-32AD-4A68-B89F-B7788B3502E8}" srcOrd="1" destOrd="0" parTransId="{C8396949-E7DA-4389-B703-A26AE7E781EE}" sibTransId="{1B1AAD90-37C6-4ACA-9D3D-A5F809FE3460}"/>
    <dgm:cxn modelId="{475890D1-DB3B-4A0F-91B4-BA962839DC59}" srcId="{9D082DAF-E63D-4161-A0AD-C5C833EA7BB5}" destId="{AB19FF93-EF2D-4C3C-83B3-53B3D84EE821}" srcOrd="1" destOrd="0" parTransId="{900820DB-4355-4F39-9C2B-7951F18FD5FE}" sibTransId="{DC31C965-A740-4C8C-91BA-168AD05DA44C}"/>
    <dgm:cxn modelId="{EFCB5BD2-DBEC-434B-B810-5E4D9A90DCDB}" type="presOf" srcId="{2EC1E32B-0004-426D-A312-5266186C072D}" destId="{3C352BA4-C619-43D6-B6E2-138649F16D3E}" srcOrd="0" destOrd="0" presId="urn:microsoft.com/office/officeart/2018/5/layout/CenteredIconLabelDescriptionList"/>
    <dgm:cxn modelId="{1A24D8D3-5BFE-4474-8C33-E585B4FF8AED}" type="presOf" srcId="{64C8D0B9-65E0-40EF-BFFD-C02FA9AF6147}" destId="{3C352BA4-C619-43D6-B6E2-138649F16D3E}" srcOrd="0" destOrd="3" presId="urn:microsoft.com/office/officeart/2018/5/layout/CenteredIconLabelDescriptionList"/>
    <dgm:cxn modelId="{3F2B1FD9-8C08-4230-9722-E7F2975A3B58}" type="presOf" srcId="{9C110428-9474-42AF-B29B-52A274D2DF23}" destId="{45102E2B-F7E4-48F9-B95D-823541A7144E}" srcOrd="0" destOrd="0" presId="urn:microsoft.com/office/officeart/2018/5/layout/CenteredIconLabelDescriptionList"/>
    <dgm:cxn modelId="{38E3C8E0-B32B-43CA-902D-DDC5C4089F98}" srcId="{B66C7AD9-CE4E-4509-AF0E-7FF5D3C40150}" destId="{2EC1E32B-0004-426D-A312-5266186C072D}" srcOrd="0" destOrd="0" parTransId="{867DB096-CA2E-4482-8D05-55750BDD3629}" sibTransId="{54889C8E-4223-467A-898F-63F1A4298DCB}"/>
    <dgm:cxn modelId="{BD8E85E8-26C4-467C-BF40-82B368EFA1BE}" srcId="{8A23DF2D-E658-4245-83A7-6A9741D85071}" destId="{06DB9E48-A3EA-4594-B153-6D406D4A2384}" srcOrd="0" destOrd="0" parTransId="{BF4FAAA6-BA79-43FC-995D-65B9CCF3FFE4}" sibTransId="{3408C86D-10A9-44E9-85B5-39E01F3C4341}"/>
    <dgm:cxn modelId="{EDE76EFF-9C61-4442-A3E8-F893443437E4}" srcId="{B66C7AD9-CE4E-4509-AF0E-7FF5D3C40150}" destId="{64C8D0B9-65E0-40EF-BFFD-C02FA9AF6147}" srcOrd="3" destOrd="0" parTransId="{6940104A-C5B5-40AE-8A9C-DE3D0C9D225E}" sibTransId="{67E9B59D-4281-47E7-A5B3-41BBDA506528}"/>
    <dgm:cxn modelId="{D44891B4-56E5-492B-98D1-7E688FD0BBFF}" type="presParOf" srcId="{A5F801C3-9E50-4E80-A832-6B797DCDEEE8}" destId="{EE59A622-6E4D-4FEB-8EFF-70616004B939}" srcOrd="0" destOrd="0" presId="urn:microsoft.com/office/officeart/2018/5/layout/CenteredIconLabelDescriptionList"/>
    <dgm:cxn modelId="{8F0EC92B-A1ED-4D1B-89D9-F79F3DC1E92C}" type="presParOf" srcId="{EE59A622-6E4D-4FEB-8EFF-70616004B939}" destId="{108BC387-A66D-4AD7-A2BC-E778CCA539E4}" srcOrd="0" destOrd="0" presId="urn:microsoft.com/office/officeart/2018/5/layout/CenteredIconLabelDescriptionList"/>
    <dgm:cxn modelId="{CBC79428-D1BD-41C8-B746-407047E41933}" type="presParOf" srcId="{EE59A622-6E4D-4FEB-8EFF-70616004B939}" destId="{04519B67-ECA8-4E62-98C9-7EDC9A543FFD}" srcOrd="1" destOrd="0" presId="urn:microsoft.com/office/officeart/2018/5/layout/CenteredIconLabelDescriptionList"/>
    <dgm:cxn modelId="{663F828D-0CF0-4BA1-B2E5-CBB95E79173B}" type="presParOf" srcId="{EE59A622-6E4D-4FEB-8EFF-70616004B939}" destId="{5E9EC0DB-7CD0-48D5-8FC3-F521BD480594}" srcOrd="2" destOrd="0" presId="urn:microsoft.com/office/officeart/2018/5/layout/CenteredIconLabelDescriptionList"/>
    <dgm:cxn modelId="{3407C8A2-718D-44A8-8F7E-541D71DF1B5B}" type="presParOf" srcId="{EE59A622-6E4D-4FEB-8EFF-70616004B939}" destId="{A941405C-1F94-4EBA-9159-4310593700F9}" srcOrd="3" destOrd="0" presId="urn:microsoft.com/office/officeart/2018/5/layout/CenteredIconLabelDescriptionList"/>
    <dgm:cxn modelId="{75D2E74E-FB58-48B4-85C0-215105EEAD0E}" type="presParOf" srcId="{EE59A622-6E4D-4FEB-8EFF-70616004B939}" destId="{398F586F-041E-4274-A4E3-7BAA11FBED7C}" srcOrd="4" destOrd="0" presId="urn:microsoft.com/office/officeart/2018/5/layout/CenteredIconLabelDescriptionList"/>
    <dgm:cxn modelId="{7B000553-D9E1-4F34-89B8-8EACE5224D4C}" type="presParOf" srcId="{A5F801C3-9E50-4E80-A832-6B797DCDEEE8}" destId="{21756C14-8E72-441A-B843-7834509928A3}" srcOrd="1" destOrd="0" presId="urn:microsoft.com/office/officeart/2018/5/layout/CenteredIconLabelDescriptionList"/>
    <dgm:cxn modelId="{6C9E2EA6-56C9-4F06-8C82-5F57FD5C130B}" type="presParOf" srcId="{A5F801C3-9E50-4E80-A832-6B797DCDEEE8}" destId="{05ED8287-9D4D-4692-B5B4-89E1FEC969B0}" srcOrd="2" destOrd="0" presId="urn:microsoft.com/office/officeart/2018/5/layout/CenteredIconLabelDescriptionList"/>
    <dgm:cxn modelId="{03425414-ABD5-4EE4-A974-8AF4344D1091}" type="presParOf" srcId="{05ED8287-9D4D-4692-B5B4-89E1FEC969B0}" destId="{9084738A-F751-4CBC-978A-FAD24D8F7693}" srcOrd="0" destOrd="0" presId="urn:microsoft.com/office/officeart/2018/5/layout/CenteredIconLabelDescriptionList"/>
    <dgm:cxn modelId="{540E7BFD-CA12-47EB-9AD9-C7BAAE95CB8B}" type="presParOf" srcId="{05ED8287-9D4D-4692-B5B4-89E1FEC969B0}" destId="{E7BBF60A-345B-4147-A65E-2A8B0B3FF7CC}" srcOrd="1" destOrd="0" presId="urn:microsoft.com/office/officeart/2018/5/layout/CenteredIconLabelDescriptionList"/>
    <dgm:cxn modelId="{4303DED1-8C4C-444B-9C41-1BB16D3CD5C5}" type="presParOf" srcId="{05ED8287-9D4D-4692-B5B4-89E1FEC969B0}" destId="{1C11E4FA-FE19-4488-B983-B172767352C0}" srcOrd="2" destOrd="0" presId="urn:microsoft.com/office/officeart/2018/5/layout/CenteredIconLabelDescriptionList"/>
    <dgm:cxn modelId="{8827ADD8-AFAD-43C9-9F2F-7A441F7C05B0}" type="presParOf" srcId="{05ED8287-9D4D-4692-B5B4-89E1FEC969B0}" destId="{00C6FCD9-4348-4390-A0E7-9D8207CFD0A1}" srcOrd="3" destOrd="0" presId="urn:microsoft.com/office/officeart/2018/5/layout/CenteredIconLabelDescriptionList"/>
    <dgm:cxn modelId="{C8D00691-BAC1-4996-8E84-90E74CD2704D}" type="presParOf" srcId="{05ED8287-9D4D-4692-B5B4-89E1FEC969B0}" destId="{3C352BA4-C619-43D6-B6E2-138649F16D3E}" srcOrd="4" destOrd="0" presId="urn:microsoft.com/office/officeart/2018/5/layout/CenteredIconLabelDescriptionList"/>
    <dgm:cxn modelId="{819B800F-0017-438D-91F6-FA4B5856D776}" type="presParOf" srcId="{A5F801C3-9E50-4E80-A832-6B797DCDEEE8}" destId="{B434F769-4942-4B7E-A0D7-8D3E5906B699}" srcOrd="3" destOrd="0" presId="urn:microsoft.com/office/officeart/2018/5/layout/CenteredIconLabelDescriptionList"/>
    <dgm:cxn modelId="{2830649E-7C3D-4F4C-B94F-3DE03015C4DB}" type="presParOf" srcId="{A5F801C3-9E50-4E80-A832-6B797DCDEEE8}" destId="{D483B868-49D5-428E-8490-BCF56E0DF897}" srcOrd="4" destOrd="0" presId="urn:microsoft.com/office/officeart/2018/5/layout/CenteredIconLabelDescriptionList"/>
    <dgm:cxn modelId="{8838417E-4CE1-429D-890F-EFE892CBD964}" type="presParOf" srcId="{D483B868-49D5-428E-8490-BCF56E0DF897}" destId="{30214991-8382-491F-A784-5C689FBF74CF}" srcOrd="0" destOrd="0" presId="urn:microsoft.com/office/officeart/2018/5/layout/CenteredIconLabelDescriptionList"/>
    <dgm:cxn modelId="{6712255F-7293-466D-AC3C-C0D4E76D1A87}" type="presParOf" srcId="{D483B868-49D5-428E-8490-BCF56E0DF897}" destId="{AD92BE4F-5E28-4ABE-B682-4FA274FF40B8}" srcOrd="1" destOrd="0" presId="urn:microsoft.com/office/officeart/2018/5/layout/CenteredIconLabelDescriptionList"/>
    <dgm:cxn modelId="{D1B597C3-D471-4CF2-A0CD-B4F9D58C8F9C}" type="presParOf" srcId="{D483B868-49D5-428E-8490-BCF56E0DF897}" destId="{805FAC6C-416A-421C-BF78-929E4DBB5202}" srcOrd="2" destOrd="0" presId="urn:microsoft.com/office/officeart/2018/5/layout/CenteredIconLabelDescriptionList"/>
    <dgm:cxn modelId="{B9CA0646-936F-4105-A469-14DC519D9654}" type="presParOf" srcId="{D483B868-49D5-428E-8490-BCF56E0DF897}" destId="{01BD25DD-17DA-4F95-9A54-4BF611A0A401}" srcOrd="3" destOrd="0" presId="urn:microsoft.com/office/officeart/2018/5/layout/CenteredIconLabelDescriptionList"/>
    <dgm:cxn modelId="{1006B4E3-47EB-45CA-AFBE-28E5D2079F49}" type="presParOf" srcId="{D483B868-49D5-428E-8490-BCF56E0DF897}" destId="{45102E2B-F7E4-48F9-B95D-823541A7144E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7DF13B3-DF7F-4640-B66B-8F43F2B9F19D}" type="doc">
      <dgm:prSet loTypeId="urn:diagrams.loki3.com/VaryingWidthList" loCatId="list" qsTypeId="urn:microsoft.com/office/officeart/2005/8/quickstyle/simple1" qsCatId="simple" csTypeId="urn:microsoft.com/office/officeart/2005/8/colors/accent1_2" csCatId="accent1" phldr="1"/>
      <dgm:spPr/>
    </dgm:pt>
    <dgm:pt modelId="{4BA7A606-3167-4B84-8266-4E795FB9B817}">
      <dgm:prSet phldrT="[Text]" custT="1"/>
      <dgm:spPr/>
      <dgm:t>
        <a:bodyPr/>
        <a:lstStyle/>
        <a:p>
          <a:pPr algn="l"/>
          <a:r>
            <a:rPr lang="es-419" sz="3200" b="1" dirty="0"/>
            <a:t>m</a:t>
          </a:r>
          <a:r>
            <a:rPr lang="es-419" sz="2800" dirty="0"/>
            <a:t>.mx-ns.mx </a:t>
          </a:r>
          <a:r>
            <a:rPr lang="es-419" sz="1000" dirty="0"/>
            <a:t>(IPv6)</a:t>
          </a:r>
          <a:endParaRPr lang="en-US" sz="2100" dirty="0"/>
        </a:p>
      </dgm:t>
    </dgm:pt>
    <dgm:pt modelId="{94A6945A-60E6-4751-9647-AAF9F4BDE504}" type="parTrans" cxnId="{5466E10F-C041-4474-9CBD-D43AFF2BA4AA}">
      <dgm:prSet/>
      <dgm:spPr/>
      <dgm:t>
        <a:bodyPr/>
        <a:lstStyle/>
        <a:p>
          <a:endParaRPr lang="en-US"/>
        </a:p>
      </dgm:t>
    </dgm:pt>
    <dgm:pt modelId="{FAA44F40-1226-4F1D-B6AD-A78CFA5D75FB}" type="sibTrans" cxnId="{5466E10F-C041-4474-9CBD-D43AFF2BA4AA}">
      <dgm:prSet/>
      <dgm:spPr/>
      <dgm:t>
        <a:bodyPr/>
        <a:lstStyle/>
        <a:p>
          <a:endParaRPr lang="en-US"/>
        </a:p>
      </dgm:t>
    </dgm:pt>
    <dgm:pt modelId="{7D141169-797F-47B2-BBB6-387D189E1621}">
      <dgm:prSet phldrT="[Text]" custT="1"/>
      <dgm:spPr/>
      <dgm:t>
        <a:bodyPr/>
        <a:lstStyle/>
        <a:p>
          <a:pPr algn="l"/>
          <a:r>
            <a:rPr lang="es-419" sz="3200" b="1" dirty="0"/>
            <a:t>e</a:t>
          </a:r>
          <a:r>
            <a:rPr lang="es-419" sz="2800" dirty="0"/>
            <a:t>.mx-ns.mx</a:t>
          </a:r>
          <a:endParaRPr lang="en-US" sz="2800" dirty="0"/>
        </a:p>
      </dgm:t>
    </dgm:pt>
    <dgm:pt modelId="{B602F114-DFEE-4D38-8DC3-F82223C5FF9B}" type="parTrans" cxnId="{D0A4F42B-1980-498A-B5EB-A915280FA4C7}">
      <dgm:prSet/>
      <dgm:spPr/>
      <dgm:t>
        <a:bodyPr/>
        <a:lstStyle/>
        <a:p>
          <a:endParaRPr lang="en-US"/>
        </a:p>
      </dgm:t>
    </dgm:pt>
    <dgm:pt modelId="{FA27B253-E94B-4606-8DB7-5512C7E58FF7}" type="sibTrans" cxnId="{D0A4F42B-1980-498A-B5EB-A915280FA4C7}">
      <dgm:prSet/>
      <dgm:spPr/>
      <dgm:t>
        <a:bodyPr/>
        <a:lstStyle/>
        <a:p>
          <a:endParaRPr lang="en-US"/>
        </a:p>
      </dgm:t>
    </dgm:pt>
    <dgm:pt modelId="{1D68E363-085C-46E3-9DCB-080AE23B79B4}">
      <dgm:prSet phldrT="[Text]" custT="1"/>
      <dgm:spPr/>
      <dgm:t>
        <a:bodyPr/>
        <a:lstStyle/>
        <a:p>
          <a:pPr algn="l"/>
          <a:r>
            <a:rPr lang="es-419" sz="3200" b="1" dirty="0"/>
            <a:t>x</a:t>
          </a:r>
          <a:r>
            <a:rPr lang="es-419" sz="2800" dirty="0"/>
            <a:t>.mx-ns.mx</a:t>
          </a:r>
          <a:endParaRPr lang="en-US" sz="2800" dirty="0"/>
        </a:p>
      </dgm:t>
    </dgm:pt>
    <dgm:pt modelId="{A5FA0EC6-472D-4AA5-9FF4-6A461A4F838E}" type="parTrans" cxnId="{AD05682A-A021-408B-8A3B-C35C99B15036}">
      <dgm:prSet/>
      <dgm:spPr/>
      <dgm:t>
        <a:bodyPr/>
        <a:lstStyle/>
        <a:p>
          <a:endParaRPr lang="en-US"/>
        </a:p>
      </dgm:t>
    </dgm:pt>
    <dgm:pt modelId="{35A46D9F-7523-446A-B2FA-98DF94BA3773}" type="sibTrans" cxnId="{AD05682A-A021-408B-8A3B-C35C99B15036}">
      <dgm:prSet/>
      <dgm:spPr/>
      <dgm:t>
        <a:bodyPr/>
        <a:lstStyle/>
        <a:p>
          <a:endParaRPr lang="en-US"/>
        </a:p>
      </dgm:t>
    </dgm:pt>
    <dgm:pt modelId="{A7ECF9D0-08AD-498D-B31F-CF6792ECFA73}">
      <dgm:prSet phldrT="[Text]" custT="1"/>
      <dgm:spPr/>
      <dgm:t>
        <a:bodyPr/>
        <a:lstStyle/>
        <a:p>
          <a:pPr algn="l"/>
          <a:r>
            <a:rPr lang="es-419" sz="3200" b="1" dirty="0"/>
            <a:t>i</a:t>
          </a:r>
          <a:r>
            <a:rPr lang="es-419" sz="2800" dirty="0"/>
            <a:t>.mx-ns.mx</a:t>
          </a:r>
          <a:endParaRPr lang="en-US" sz="2800" dirty="0"/>
        </a:p>
      </dgm:t>
    </dgm:pt>
    <dgm:pt modelId="{B57F5D36-6D96-4080-B947-F8CBBBF01633}" type="parTrans" cxnId="{91F0EC35-E9FF-44E1-89CB-9240643D9736}">
      <dgm:prSet/>
      <dgm:spPr/>
      <dgm:t>
        <a:bodyPr/>
        <a:lstStyle/>
        <a:p>
          <a:endParaRPr lang="en-US"/>
        </a:p>
      </dgm:t>
    </dgm:pt>
    <dgm:pt modelId="{59C2CC1B-509F-4329-BF2C-A68947987F2C}" type="sibTrans" cxnId="{91F0EC35-E9FF-44E1-89CB-9240643D9736}">
      <dgm:prSet/>
      <dgm:spPr/>
      <dgm:t>
        <a:bodyPr/>
        <a:lstStyle/>
        <a:p>
          <a:endParaRPr lang="en-US"/>
        </a:p>
      </dgm:t>
    </dgm:pt>
    <dgm:pt modelId="{072BC63B-D19F-4006-B630-9F36427E1565}">
      <dgm:prSet phldrT="[Text]" custT="1"/>
      <dgm:spPr/>
      <dgm:t>
        <a:bodyPr/>
        <a:lstStyle/>
        <a:p>
          <a:pPr algn="l"/>
          <a:r>
            <a:rPr lang="es-419" sz="3200" b="1" dirty="0"/>
            <a:t>c</a:t>
          </a:r>
          <a:r>
            <a:rPr lang="es-419" sz="2800" dirty="0"/>
            <a:t>.mx-ns.mx </a:t>
          </a:r>
          <a:r>
            <a:rPr lang="es-419" sz="1000" dirty="0"/>
            <a:t>(IPv6)</a:t>
          </a:r>
          <a:endParaRPr lang="en-US" sz="2100" dirty="0"/>
        </a:p>
      </dgm:t>
    </dgm:pt>
    <dgm:pt modelId="{8BD338A2-3646-49A2-8054-F88A2852C817}" type="parTrans" cxnId="{9CD01BA6-4691-4941-9844-68D118FAC863}">
      <dgm:prSet/>
      <dgm:spPr/>
      <dgm:t>
        <a:bodyPr/>
        <a:lstStyle/>
        <a:p>
          <a:endParaRPr lang="en-US"/>
        </a:p>
      </dgm:t>
    </dgm:pt>
    <dgm:pt modelId="{C3BA89E9-DE26-41D7-A6D8-B1ACDF7C557E}" type="sibTrans" cxnId="{9CD01BA6-4691-4941-9844-68D118FAC863}">
      <dgm:prSet/>
      <dgm:spPr/>
      <dgm:t>
        <a:bodyPr/>
        <a:lstStyle/>
        <a:p>
          <a:endParaRPr lang="en-US"/>
        </a:p>
      </dgm:t>
    </dgm:pt>
    <dgm:pt modelId="{48A5B11B-5472-4A5F-B897-155C94741116}">
      <dgm:prSet phldrT="[Text]" custT="1"/>
      <dgm:spPr/>
      <dgm:t>
        <a:bodyPr/>
        <a:lstStyle/>
        <a:p>
          <a:pPr algn="l"/>
          <a:r>
            <a:rPr lang="es-419" sz="3200" b="1" dirty="0"/>
            <a:t>o</a:t>
          </a:r>
          <a:r>
            <a:rPr lang="es-419" sz="2800" dirty="0"/>
            <a:t>.mx-ns.mx</a:t>
          </a:r>
          <a:endParaRPr lang="en-US" sz="2800" dirty="0"/>
        </a:p>
      </dgm:t>
    </dgm:pt>
    <dgm:pt modelId="{06D9FCB7-5554-4D21-AE3B-3C89C5B081A4}" type="parTrans" cxnId="{491B10F9-0AF7-4937-867C-CBB26DA1839F}">
      <dgm:prSet/>
      <dgm:spPr/>
      <dgm:t>
        <a:bodyPr/>
        <a:lstStyle/>
        <a:p>
          <a:endParaRPr lang="en-US"/>
        </a:p>
      </dgm:t>
    </dgm:pt>
    <dgm:pt modelId="{7E8AA89F-8B45-4D3F-87C9-14B9C4358D77}" type="sibTrans" cxnId="{491B10F9-0AF7-4937-867C-CBB26DA1839F}">
      <dgm:prSet/>
      <dgm:spPr/>
      <dgm:t>
        <a:bodyPr/>
        <a:lstStyle/>
        <a:p>
          <a:endParaRPr lang="en-US"/>
        </a:p>
      </dgm:t>
    </dgm:pt>
    <dgm:pt modelId="{FC93EA9D-B05A-40E8-BB4D-85B46D58C6B7}" type="pres">
      <dgm:prSet presAssocID="{C7DF13B3-DF7F-4640-B66B-8F43F2B9F19D}" presName="Name0" presStyleCnt="0">
        <dgm:presLayoutVars>
          <dgm:resizeHandles/>
        </dgm:presLayoutVars>
      </dgm:prSet>
      <dgm:spPr/>
    </dgm:pt>
    <dgm:pt modelId="{95F4AFED-0D89-475F-8B55-7F395E75E8A9}" type="pres">
      <dgm:prSet presAssocID="{4BA7A606-3167-4B84-8266-4E795FB9B817}" presName="text" presStyleLbl="node1" presStyleIdx="0" presStyleCnt="6" custScaleX="160514">
        <dgm:presLayoutVars>
          <dgm:bulletEnabled val="1"/>
        </dgm:presLayoutVars>
      </dgm:prSet>
      <dgm:spPr/>
    </dgm:pt>
    <dgm:pt modelId="{E4B157AA-FAD3-4469-B13E-991A2C6CF893}" type="pres">
      <dgm:prSet presAssocID="{FAA44F40-1226-4F1D-B6AD-A78CFA5D75FB}" presName="space" presStyleCnt="0"/>
      <dgm:spPr/>
    </dgm:pt>
    <dgm:pt modelId="{F0DCBB34-9D34-4DE2-9AC8-C6BBA5C4895D}" type="pres">
      <dgm:prSet presAssocID="{7D141169-797F-47B2-BBB6-387D189E1621}" presName="text" presStyleLbl="node1" presStyleIdx="1" presStyleCnt="6" custScaleX="125656">
        <dgm:presLayoutVars>
          <dgm:bulletEnabled val="1"/>
        </dgm:presLayoutVars>
      </dgm:prSet>
      <dgm:spPr/>
    </dgm:pt>
    <dgm:pt modelId="{C932F2C2-5B80-45B5-8C91-E5D51C11F45D}" type="pres">
      <dgm:prSet presAssocID="{FA27B253-E94B-4606-8DB7-5512C7E58FF7}" presName="space" presStyleCnt="0"/>
      <dgm:spPr/>
    </dgm:pt>
    <dgm:pt modelId="{A8E614D0-07BB-4A61-A883-4B71FCE6F54B}" type="pres">
      <dgm:prSet presAssocID="{1D68E363-085C-46E3-9DCB-080AE23B79B4}" presName="text" presStyleLbl="node1" presStyleIdx="2" presStyleCnt="6" custScaleX="129583">
        <dgm:presLayoutVars>
          <dgm:bulletEnabled val="1"/>
        </dgm:presLayoutVars>
      </dgm:prSet>
      <dgm:spPr/>
    </dgm:pt>
    <dgm:pt modelId="{2ADDAEE9-3094-4A45-B4E5-4C7174151F32}" type="pres">
      <dgm:prSet presAssocID="{35A46D9F-7523-446A-B2FA-98DF94BA3773}" presName="space" presStyleCnt="0"/>
      <dgm:spPr/>
    </dgm:pt>
    <dgm:pt modelId="{2A704E7E-20AC-4F05-901A-83799570FBB4}" type="pres">
      <dgm:prSet presAssocID="{A7ECF9D0-08AD-498D-B31F-CF6792ECFA73}" presName="text" presStyleLbl="node1" presStyleIdx="3" presStyleCnt="6" custScaleX="135169">
        <dgm:presLayoutVars>
          <dgm:bulletEnabled val="1"/>
        </dgm:presLayoutVars>
      </dgm:prSet>
      <dgm:spPr/>
    </dgm:pt>
    <dgm:pt modelId="{162E2949-4029-4D92-843E-FCA17F3AB7CB}" type="pres">
      <dgm:prSet presAssocID="{59C2CC1B-509F-4329-BF2C-A68947987F2C}" presName="space" presStyleCnt="0"/>
      <dgm:spPr/>
    </dgm:pt>
    <dgm:pt modelId="{DFF4CBA3-9DD4-4A8D-8594-DF1B2986FB3F}" type="pres">
      <dgm:prSet presAssocID="{072BC63B-D19F-4006-B630-9F36427E1565}" presName="text" presStyleLbl="node1" presStyleIdx="4" presStyleCnt="6" custScaleX="171864">
        <dgm:presLayoutVars>
          <dgm:bulletEnabled val="1"/>
        </dgm:presLayoutVars>
      </dgm:prSet>
      <dgm:spPr/>
    </dgm:pt>
    <dgm:pt modelId="{B1B9F009-6615-42D9-90EF-6042137DFFDA}" type="pres">
      <dgm:prSet presAssocID="{C3BA89E9-DE26-41D7-A6D8-B1ACDF7C557E}" presName="space" presStyleCnt="0"/>
      <dgm:spPr/>
    </dgm:pt>
    <dgm:pt modelId="{CC0051F8-41B0-40A6-9849-3F58AC7703B6}" type="pres">
      <dgm:prSet presAssocID="{48A5B11B-5472-4A5F-B897-155C94741116}" presName="text" presStyleLbl="node1" presStyleIdx="5" presStyleCnt="6" custScaleX="126700">
        <dgm:presLayoutVars>
          <dgm:bulletEnabled val="1"/>
        </dgm:presLayoutVars>
      </dgm:prSet>
      <dgm:spPr/>
    </dgm:pt>
  </dgm:ptLst>
  <dgm:cxnLst>
    <dgm:cxn modelId="{5466E10F-C041-4474-9CBD-D43AFF2BA4AA}" srcId="{C7DF13B3-DF7F-4640-B66B-8F43F2B9F19D}" destId="{4BA7A606-3167-4B84-8266-4E795FB9B817}" srcOrd="0" destOrd="0" parTransId="{94A6945A-60E6-4751-9647-AAF9F4BDE504}" sibTransId="{FAA44F40-1226-4F1D-B6AD-A78CFA5D75FB}"/>
    <dgm:cxn modelId="{AD05682A-A021-408B-8A3B-C35C99B15036}" srcId="{C7DF13B3-DF7F-4640-B66B-8F43F2B9F19D}" destId="{1D68E363-085C-46E3-9DCB-080AE23B79B4}" srcOrd="2" destOrd="0" parTransId="{A5FA0EC6-472D-4AA5-9FF4-6A461A4F838E}" sibTransId="{35A46D9F-7523-446A-B2FA-98DF94BA3773}"/>
    <dgm:cxn modelId="{D0A4F42B-1980-498A-B5EB-A915280FA4C7}" srcId="{C7DF13B3-DF7F-4640-B66B-8F43F2B9F19D}" destId="{7D141169-797F-47B2-BBB6-387D189E1621}" srcOrd="1" destOrd="0" parTransId="{B602F114-DFEE-4D38-8DC3-F82223C5FF9B}" sibTransId="{FA27B253-E94B-4606-8DB7-5512C7E58FF7}"/>
    <dgm:cxn modelId="{91F0EC35-E9FF-44E1-89CB-9240643D9736}" srcId="{C7DF13B3-DF7F-4640-B66B-8F43F2B9F19D}" destId="{A7ECF9D0-08AD-498D-B31F-CF6792ECFA73}" srcOrd="3" destOrd="0" parTransId="{B57F5D36-6D96-4080-B947-F8CBBBF01633}" sibTransId="{59C2CC1B-509F-4329-BF2C-A68947987F2C}"/>
    <dgm:cxn modelId="{7470486E-B21A-4DAA-AB39-38F41AFB77D7}" type="presOf" srcId="{C7DF13B3-DF7F-4640-B66B-8F43F2B9F19D}" destId="{FC93EA9D-B05A-40E8-BB4D-85B46D58C6B7}" srcOrd="0" destOrd="0" presId="urn:diagrams.loki3.com/VaryingWidthList"/>
    <dgm:cxn modelId="{77D83758-4A00-45E8-BDD1-9150FFA031A2}" type="presOf" srcId="{A7ECF9D0-08AD-498D-B31F-CF6792ECFA73}" destId="{2A704E7E-20AC-4F05-901A-83799570FBB4}" srcOrd="0" destOrd="0" presId="urn:diagrams.loki3.com/VaryingWidthList"/>
    <dgm:cxn modelId="{B3E3B88F-D45D-494A-8689-A2DB2C014D00}" type="presOf" srcId="{072BC63B-D19F-4006-B630-9F36427E1565}" destId="{DFF4CBA3-9DD4-4A8D-8594-DF1B2986FB3F}" srcOrd="0" destOrd="0" presId="urn:diagrams.loki3.com/VaryingWidthList"/>
    <dgm:cxn modelId="{66638BA0-01EA-4845-9483-434AF8A5CBB9}" type="presOf" srcId="{1D68E363-085C-46E3-9DCB-080AE23B79B4}" destId="{A8E614D0-07BB-4A61-A883-4B71FCE6F54B}" srcOrd="0" destOrd="0" presId="urn:diagrams.loki3.com/VaryingWidthList"/>
    <dgm:cxn modelId="{9CD01BA6-4691-4941-9844-68D118FAC863}" srcId="{C7DF13B3-DF7F-4640-B66B-8F43F2B9F19D}" destId="{072BC63B-D19F-4006-B630-9F36427E1565}" srcOrd="4" destOrd="0" parTransId="{8BD338A2-3646-49A2-8054-F88A2852C817}" sibTransId="{C3BA89E9-DE26-41D7-A6D8-B1ACDF7C557E}"/>
    <dgm:cxn modelId="{A35AEEAC-EAF5-46A3-B955-7F96237D2165}" type="presOf" srcId="{48A5B11B-5472-4A5F-B897-155C94741116}" destId="{CC0051F8-41B0-40A6-9849-3F58AC7703B6}" srcOrd="0" destOrd="0" presId="urn:diagrams.loki3.com/VaryingWidthList"/>
    <dgm:cxn modelId="{BBCDF6E3-2969-4793-B965-A413F4E6FA75}" type="presOf" srcId="{7D141169-797F-47B2-BBB6-387D189E1621}" destId="{F0DCBB34-9D34-4DE2-9AC8-C6BBA5C4895D}" srcOrd="0" destOrd="0" presId="urn:diagrams.loki3.com/VaryingWidthList"/>
    <dgm:cxn modelId="{9A07B0E5-3BD5-42E6-9B81-2DAE60EBF097}" type="presOf" srcId="{4BA7A606-3167-4B84-8266-4E795FB9B817}" destId="{95F4AFED-0D89-475F-8B55-7F395E75E8A9}" srcOrd="0" destOrd="0" presId="urn:diagrams.loki3.com/VaryingWidthList"/>
    <dgm:cxn modelId="{491B10F9-0AF7-4937-867C-CBB26DA1839F}" srcId="{C7DF13B3-DF7F-4640-B66B-8F43F2B9F19D}" destId="{48A5B11B-5472-4A5F-B897-155C94741116}" srcOrd="5" destOrd="0" parTransId="{06D9FCB7-5554-4D21-AE3B-3C89C5B081A4}" sibTransId="{7E8AA89F-8B45-4D3F-87C9-14B9C4358D77}"/>
    <dgm:cxn modelId="{49DF05C6-ED52-48FA-BE21-E2DEA5148BEB}" type="presParOf" srcId="{FC93EA9D-B05A-40E8-BB4D-85B46D58C6B7}" destId="{95F4AFED-0D89-475F-8B55-7F395E75E8A9}" srcOrd="0" destOrd="0" presId="urn:diagrams.loki3.com/VaryingWidthList"/>
    <dgm:cxn modelId="{C05D394B-266A-4590-84D6-CFA077C889BD}" type="presParOf" srcId="{FC93EA9D-B05A-40E8-BB4D-85B46D58C6B7}" destId="{E4B157AA-FAD3-4469-B13E-991A2C6CF893}" srcOrd="1" destOrd="0" presId="urn:diagrams.loki3.com/VaryingWidthList"/>
    <dgm:cxn modelId="{D9C6F0D3-889C-4C2D-82F4-684F4FFCF401}" type="presParOf" srcId="{FC93EA9D-B05A-40E8-BB4D-85B46D58C6B7}" destId="{F0DCBB34-9D34-4DE2-9AC8-C6BBA5C4895D}" srcOrd="2" destOrd="0" presId="urn:diagrams.loki3.com/VaryingWidthList"/>
    <dgm:cxn modelId="{EB841800-0C17-4CBE-8AB8-7B26356D64EE}" type="presParOf" srcId="{FC93EA9D-B05A-40E8-BB4D-85B46D58C6B7}" destId="{C932F2C2-5B80-45B5-8C91-E5D51C11F45D}" srcOrd="3" destOrd="0" presId="urn:diagrams.loki3.com/VaryingWidthList"/>
    <dgm:cxn modelId="{EF61DF6E-18C3-497E-8096-FC0DBC54FB2E}" type="presParOf" srcId="{FC93EA9D-B05A-40E8-BB4D-85B46D58C6B7}" destId="{A8E614D0-07BB-4A61-A883-4B71FCE6F54B}" srcOrd="4" destOrd="0" presId="urn:diagrams.loki3.com/VaryingWidthList"/>
    <dgm:cxn modelId="{917995C6-88A2-4BE7-9580-174E3108740F}" type="presParOf" srcId="{FC93EA9D-B05A-40E8-BB4D-85B46D58C6B7}" destId="{2ADDAEE9-3094-4A45-B4E5-4C7174151F32}" srcOrd="5" destOrd="0" presId="urn:diagrams.loki3.com/VaryingWidthList"/>
    <dgm:cxn modelId="{70AC476E-67BE-4FC0-97D0-F78774D2535F}" type="presParOf" srcId="{FC93EA9D-B05A-40E8-BB4D-85B46D58C6B7}" destId="{2A704E7E-20AC-4F05-901A-83799570FBB4}" srcOrd="6" destOrd="0" presId="urn:diagrams.loki3.com/VaryingWidthList"/>
    <dgm:cxn modelId="{30B3F763-AA64-4141-AC73-998A64064D4F}" type="presParOf" srcId="{FC93EA9D-B05A-40E8-BB4D-85B46D58C6B7}" destId="{162E2949-4029-4D92-843E-FCA17F3AB7CB}" srcOrd="7" destOrd="0" presId="urn:diagrams.loki3.com/VaryingWidthList"/>
    <dgm:cxn modelId="{B55335CA-2BDE-499C-83C0-B863992924D0}" type="presParOf" srcId="{FC93EA9D-B05A-40E8-BB4D-85B46D58C6B7}" destId="{DFF4CBA3-9DD4-4A8D-8594-DF1B2986FB3F}" srcOrd="8" destOrd="0" presId="urn:diagrams.loki3.com/VaryingWidthList"/>
    <dgm:cxn modelId="{E8AA119F-3FF4-4E65-A489-F420E60154C8}" type="presParOf" srcId="{FC93EA9D-B05A-40E8-BB4D-85B46D58C6B7}" destId="{B1B9F009-6615-42D9-90EF-6042137DFFDA}" srcOrd="9" destOrd="0" presId="urn:diagrams.loki3.com/VaryingWidthList"/>
    <dgm:cxn modelId="{D97A15CE-A154-4E3C-A07F-791525D91EB8}" type="presParOf" srcId="{FC93EA9D-B05A-40E8-BB4D-85B46D58C6B7}" destId="{CC0051F8-41B0-40A6-9849-3F58AC7703B6}" srcOrd="10" destOrd="0" presId="urn:diagrams.loki3.com/VaryingWidth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CFF6240-33C1-4B43-92DE-29DE9B95E919}" type="doc">
      <dgm:prSet loTypeId="urn:microsoft.com/office/officeart/2005/8/layout/defaul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s-MX"/>
        </a:p>
      </dgm:t>
    </dgm:pt>
    <dgm:pt modelId="{67CBD6DE-193B-4759-820B-CFE3A771CC4F}">
      <dgm:prSet custT="1"/>
      <dgm:spPr>
        <a:solidFill>
          <a:srgbClr val="00334B"/>
        </a:solidFill>
      </dgm:spPr>
      <dgm:t>
        <a:bodyPr/>
        <a:lstStyle/>
        <a:p>
          <a:pPr rtl="0"/>
          <a:r>
            <a:rPr lang="en-US" sz="2500" dirty="0" err="1"/>
            <a:t>Continuidad</a:t>
          </a:r>
          <a:r>
            <a:rPr lang="en-US" sz="2500" dirty="0"/>
            <a:t> del </a:t>
          </a:r>
          <a:r>
            <a:rPr lang="en-US" sz="2500" dirty="0" err="1"/>
            <a:t>Servicio</a:t>
          </a:r>
          <a:r>
            <a:rPr lang="en-US" sz="2500" dirty="0"/>
            <a:t> de TI</a:t>
          </a:r>
        </a:p>
      </dgm:t>
    </dgm:pt>
    <dgm:pt modelId="{4F61E814-A169-4941-9DAA-65010CDA7755}" type="parTrans" cxnId="{832BCBC1-1C8D-4A77-A582-8DCA73718984}">
      <dgm:prSet/>
      <dgm:spPr/>
      <dgm:t>
        <a:bodyPr/>
        <a:lstStyle/>
        <a:p>
          <a:endParaRPr lang="es-MX"/>
        </a:p>
      </dgm:t>
    </dgm:pt>
    <dgm:pt modelId="{82F3B438-E95F-4745-BD60-EDC146E918A3}" type="sibTrans" cxnId="{832BCBC1-1C8D-4A77-A582-8DCA73718984}">
      <dgm:prSet/>
      <dgm:spPr/>
      <dgm:t>
        <a:bodyPr/>
        <a:lstStyle/>
        <a:p>
          <a:endParaRPr lang="es-MX"/>
        </a:p>
      </dgm:t>
    </dgm:pt>
    <dgm:pt modelId="{5C50C843-16AD-4A19-89AE-6BD9FE4A87F0}">
      <dgm:prSet custT="1"/>
      <dgm:spPr>
        <a:solidFill>
          <a:srgbClr val="00334B"/>
        </a:solidFill>
      </dgm:spPr>
      <dgm:t>
        <a:bodyPr/>
        <a:lstStyle/>
        <a:p>
          <a:pPr rtl="0"/>
          <a:r>
            <a:rPr lang="es-MX" sz="2500" dirty="0"/>
            <a:t>Seguridad</a:t>
          </a:r>
        </a:p>
      </dgm:t>
    </dgm:pt>
    <dgm:pt modelId="{A57EB72B-E14A-43E2-B286-EBE32266561B}" type="parTrans" cxnId="{A73B8FD1-3B05-426C-BCA8-7288EDDFD2C2}">
      <dgm:prSet/>
      <dgm:spPr/>
      <dgm:t>
        <a:bodyPr/>
        <a:lstStyle/>
        <a:p>
          <a:endParaRPr lang="es-MX"/>
        </a:p>
      </dgm:t>
    </dgm:pt>
    <dgm:pt modelId="{62C820F6-377F-422B-AD4A-773EB923D05C}" type="sibTrans" cxnId="{A73B8FD1-3B05-426C-BCA8-7288EDDFD2C2}">
      <dgm:prSet/>
      <dgm:spPr/>
      <dgm:t>
        <a:bodyPr/>
        <a:lstStyle/>
        <a:p>
          <a:endParaRPr lang="es-MX"/>
        </a:p>
      </dgm:t>
    </dgm:pt>
    <dgm:pt modelId="{9DC3ADCE-38A9-4B82-902B-3AAF1825B861}">
      <dgm:prSet custT="1"/>
      <dgm:spPr>
        <a:solidFill>
          <a:srgbClr val="00334B"/>
        </a:solidFill>
      </dgm:spPr>
      <dgm:t>
        <a:bodyPr/>
        <a:lstStyle/>
        <a:p>
          <a:pPr rtl="0"/>
          <a:r>
            <a:rPr lang="en-US" sz="2500" dirty="0" err="1"/>
            <a:t>Administración</a:t>
          </a:r>
          <a:r>
            <a:rPr lang="en-US" sz="2500" dirty="0"/>
            <a:t> de la </a:t>
          </a:r>
          <a:r>
            <a:rPr lang="en-US" sz="2500" dirty="0" err="1"/>
            <a:t>capacidad</a:t>
          </a:r>
          <a:endParaRPr lang="es-MX" sz="2500" dirty="0"/>
        </a:p>
      </dgm:t>
    </dgm:pt>
    <dgm:pt modelId="{CDD16AA2-01B9-4684-8F08-F613EC68E0B3}" type="parTrans" cxnId="{B8EFFA67-6F5A-42AE-9691-082F704AE30D}">
      <dgm:prSet/>
      <dgm:spPr/>
      <dgm:t>
        <a:bodyPr/>
        <a:lstStyle/>
        <a:p>
          <a:endParaRPr lang="es-MX"/>
        </a:p>
      </dgm:t>
    </dgm:pt>
    <dgm:pt modelId="{1FA659FF-47F3-4143-BE0F-591F4CB5B606}" type="sibTrans" cxnId="{B8EFFA67-6F5A-42AE-9691-082F704AE30D}">
      <dgm:prSet/>
      <dgm:spPr/>
      <dgm:t>
        <a:bodyPr/>
        <a:lstStyle/>
        <a:p>
          <a:endParaRPr lang="es-MX"/>
        </a:p>
      </dgm:t>
    </dgm:pt>
    <dgm:pt modelId="{197CAE68-2991-43D6-AA60-F3884E63900A}">
      <dgm:prSet custT="1"/>
      <dgm:spPr>
        <a:solidFill>
          <a:srgbClr val="00334B"/>
        </a:solidFill>
      </dgm:spPr>
      <dgm:t>
        <a:bodyPr/>
        <a:lstStyle/>
        <a:p>
          <a:pPr rtl="0"/>
          <a:r>
            <a:rPr lang="en-US" sz="2500" dirty="0" err="1"/>
            <a:t>Administración</a:t>
          </a:r>
          <a:r>
            <a:rPr lang="en-US" sz="2500" dirty="0"/>
            <a:t> del DNS</a:t>
          </a:r>
          <a:endParaRPr lang="es-MX" sz="2500" dirty="0"/>
        </a:p>
      </dgm:t>
    </dgm:pt>
    <dgm:pt modelId="{EC8AEC30-A828-43F2-B5AF-E20080915E79}" type="parTrans" cxnId="{F89DDAF5-2E95-4470-A94F-C1A6B204F844}">
      <dgm:prSet/>
      <dgm:spPr/>
      <dgm:t>
        <a:bodyPr/>
        <a:lstStyle/>
        <a:p>
          <a:endParaRPr lang="es-MX"/>
        </a:p>
      </dgm:t>
    </dgm:pt>
    <dgm:pt modelId="{67F3F940-0B9F-4792-84C2-C9DEDB5715F6}" type="sibTrans" cxnId="{F89DDAF5-2E95-4470-A94F-C1A6B204F844}">
      <dgm:prSet/>
      <dgm:spPr/>
      <dgm:t>
        <a:bodyPr/>
        <a:lstStyle/>
        <a:p>
          <a:endParaRPr lang="es-MX"/>
        </a:p>
      </dgm:t>
    </dgm:pt>
    <dgm:pt modelId="{E5993C79-7042-4074-A5FC-EBB7B65E310D}">
      <dgm:prSet custT="1"/>
      <dgm:spPr>
        <a:solidFill>
          <a:srgbClr val="00334B"/>
        </a:solidFill>
      </dgm:spPr>
      <dgm:t>
        <a:bodyPr/>
        <a:lstStyle/>
        <a:p>
          <a:pPr rtl="0"/>
          <a:r>
            <a:rPr lang="en-US" sz="2500" dirty="0"/>
            <a:t>Plan de </a:t>
          </a:r>
          <a:r>
            <a:rPr lang="en-US" sz="2500" dirty="0" err="1"/>
            <a:t>Continuidad</a:t>
          </a:r>
          <a:r>
            <a:rPr lang="en-US" sz="2500" dirty="0"/>
            <a:t> del </a:t>
          </a:r>
          <a:r>
            <a:rPr lang="en-US" sz="2500" dirty="0" err="1"/>
            <a:t>Negocio</a:t>
          </a:r>
          <a:r>
            <a:rPr lang="en-US" sz="2500" dirty="0"/>
            <a:t> (BCP)</a:t>
          </a:r>
          <a:endParaRPr lang="es-MX" sz="2500" dirty="0"/>
        </a:p>
      </dgm:t>
    </dgm:pt>
    <dgm:pt modelId="{3E0BE268-F84C-4B58-B460-87034FF4CBBD}" type="parTrans" cxnId="{30600FF4-0352-409B-B2C2-016B1483CDD5}">
      <dgm:prSet/>
      <dgm:spPr/>
      <dgm:t>
        <a:bodyPr/>
        <a:lstStyle/>
        <a:p>
          <a:endParaRPr lang="en-US"/>
        </a:p>
      </dgm:t>
    </dgm:pt>
    <dgm:pt modelId="{39E4BA76-825F-4779-8DF0-B31383984610}" type="sibTrans" cxnId="{30600FF4-0352-409B-B2C2-016B1483CDD5}">
      <dgm:prSet/>
      <dgm:spPr/>
      <dgm:t>
        <a:bodyPr/>
        <a:lstStyle/>
        <a:p>
          <a:endParaRPr lang="en-US"/>
        </a:p>
      </dgm:t>
    </dgm:pt>
    <dgm:pt modelId="{3BFCAE01-2A8C-4C4E-9CCF-EB60938F0E94}" type="pres">
      <dgm:prSet presAssocID="{7CFF6240-33C1-4B43-92DE-29DE9B95E919}" presName="diagram" presStyleCnt="0">
        <dgm:presLayoutVars>
          <dgm:dir/>
          <dgm:resizeHandles val="exact"/>
        </dgm:presLayoutVars>
      </dgm:prSet>
      <dgm:spPr/>
    </dgm:pt>
    <dgm:pt modelId="{F9DEC5D0-036A-4DDD-BA4C-3264D84E37AB}" type="pres">
      <dgm:prSet presAssocID="{E5993C79-7042-4074-A5FC-EBB7B65E310D}" presName="node" presStyleLbl="node1" presStyleIdx="0" presStyleCnt="5" custLinFactNeighborX="1013" custLinFactNeighborY="-563">
        <dgm:presLayoutVars>
          <dgm:bulletEnabled val="1"/>
        </dgm:presLayoutVars>
      </dgm:prSet>
      <dgm:spPr/>
    </dgm:pt>
    <dgm:pt modelId="{DBF5CD7C-A4C8-400A-B045-65D36603EB27}" type="pres">
      <dgm:prSet presAssocID="{39E4BA76-825F-4779-8DF0-B31383984610}" presName="sibTrans" presStyleCnt="0"/>
      <dgm:spPr/>
    </dgm:pt>
    <dgm:pt modelId="{555B0186-312E-4A67-BAF8-E2FDC9ED78A9}" type="pres">
      <dgm:prSet presAssocID="{67CBD6DE-193B-4759-820B-CFE3A771CC4F}" presName="node" presStyleLbl="node1" presStyleIdx="1" presStyleCnt="5" custLinFactNeighborX="1013" custLinFactNeighborY="-563">
        <dgm:presLayoutVars>
          <dgm:bulletEnabled val="1"/>
        </dgm:presLayoutVars>
      </dgm:prSet>
      <dgm:spPr/>
    </dgm:pt>
    <dgm:pt modelId="{9FB145E1-321E-491F-B433-B8AA2AADF190}" type="pres">
      <dgm:prSet presAssocID="{82F3B438-E95F-4745-BD60-EDC146E918A3}" presName="sibTrans" presStyleCnt="0"/>
      <dgm:spPr/>
    </dgm:pt>
    <dgm:pt modelId="{5340BE9B-2AF3-44BD-9A4C-0F77FBC0B7B1}" type="pres">
      <dgm:prSet presAssocID="{5C50C843-16AD-4A19-89AE-6BD9FE4A87F0}" presName="node" presStyleLbl="node1" presStyleIdx="2" presStyleCnt="5" custLinFactNeighborX="1013" custLinFactNeighborY="-563">
        <dgm:presLayoutVars>
          <dgm:bulletEnabled val="1"/>
        </dgm:presLayoutVars>
      </dgm:prSet>
      <dgm:spPr/>
    </dgm:pt>
    <dgm:pt modelId="{91124368-3324-4384-80A1-25E084F3D6DF}" type="pres">
      <dgm:prSet presAssocID="{62C820F6-377F-422B-AD4A-773EB923D05C}" presName="sibTrans" presStyleCnt="0"/>
      <dgm:spPr/>
    </dgm:pt>
    <dgm:pt modelId="{C388BB12-6A6B-465B-B1BF-474DB6920E0E}" type="pres">
      <dgm:prSet presAssocID="{9DC3ADCE-38A9-4B82-902B-3AAF1825B861}" presName="node" presStyleLbl="node1" presStyleIdx="3" presStyleCnt="5" custLinFactNeighborX="1013" custLinFactNeighborY="-563">
        <dgm:presLayoutVars>
          <dgm:bulletEnabled val="1"/>
        </dgm:presLayoutVars>
      </dgm:prSet>
      <dgm:spPr/>
    </dgm:pt>
    <dgm:pt modelId="{3623E566-DBD3-4F81-A29B-4111F2690DDB}" type="pres">
      <dgm:prSet presAssocID="{1FA659FF-47F3-4143-BE0F-591F4CB5B606}" presName="sibTrans" presStyleCnt="0"/>
      <dgm:spPr/>
    </dgm:pt>
    <dgm:pt modelId="{7DF38CB3-1888-4704-ADFF-7CF137429912}" type="pres">
      <dgm:prSet presAssocID="{197CAE68-2991-43D6-AA60-F3884E63900A}" presName="node" presStyleLbl="node1" presStyleIdx="4" presStyleCnt="5">
        <dgm:presLayoutVars>
          <dgm:bulletEnabled val="1"/>
        </dgm:presLayoutVars>
      </dgm:prSet>
      <dgm:spPr/>
    </dgm:pt>
  </dgm:ptLst>
  <dgm:cxnLst>
    <dgm:cxn modelId="{B8EFFA67-6F5A-42AE-9691-082F704AE30D}" srcId="{7CFF6240-33C1-4B43-92DE-29DE9B95E919}" destId="{9DC3ADCE-38A9-4B82-902B-3AAF1825B861}" srcOrd="3" destOrd="0" parTransId="{CDD16AA2-01B9-4684-8F08-F613EC68E0B3}" sibTransId="{1FA659FF-47F3-4143-BE0F-591F4CB5B606}"/>
    <dgm:cxn modelId="{E8121258-2980-4644-A033-F6D45E330549}" type="presOf" srcId="{5C50C843-16AD-4A19-89AE-6BD9FE4A87F0}" destId="{5340BE9B-2AF3-44BD-9A4C-0F77FBC0B7B1}" srcOrd="0" destOrd="0" presId="urn:microsoft.com/office/officeart/2005/8/layout/default"/>
    <dgm:cxn modelId="{DE92DE94-1A2A-4084-B73F-C3BD04158C9A}" type="presOf" srcId="{9DC3ADCE-38A9-4B82-902B-3AAF1825B861}" destId="{C388BB12-6A6B-465B-B1BF-474DB6920E0E}" srcOrd="0" destOrd="0" presId="urn:microsoft.com/office/officeart/2005/8/layout/default"/>
    <dgm:cxn modelId="{7EA9CA99-FE39-436C-89AF-AC431E07033B}" type="presOf" srcId="{E5993C79-7042-4074-A5FC-EBB7B65E310D}" destId="{F9DEC5D0-036A-4DDD-BA4C-3264D84E37AB}" srcOrd="0" destOrd="0" presId="urn:microsoft.com/office/officeart/2005/8/layout/default"/>
    <dgm:cxn modelId="{79E1E09B-45EB-4A7B-B9E4-09A89CD88A78}" type="presOf" srcId="{67CBD6DE-193B-4759-820B-CFE3A771CC4F}" destId="{555B0186-312E-4A67-BAF8-E2FDC9ED78A9}" srcOrd="0" destOrd="0" presId="urn:microsoft.com/office/officeart/2005/8/layout/default"/>
    <dgm:cxn modelId="{088947BA-B6B1-4E4E-ADC3-FA9BB303CDDA}" type="presOf" srcId="{197CAE68-2991-43D6-AA60-F3884E63900A}" destId="{7DF38CB3-1888-4704-ADFF-7CF137429912}" srcOrd="0" destOrd="0" presId="urn:microsoft.com/office/officeart/2005/8/layout/default"/>
    <dgm:cxn modelId="{832BCBC1-1C8D-4A77-A582-8DCA73718984}" srcId="{7CFF6240-33C1-4B43-92DE-29DE9B95E919}" destId="{67CBD6DE-193B-4759-820B-CFE3A771CC4F}" srcOrd="1" destOrd="0" parTransId="{4F61E814-A169-4941-9DAA-65010CDA7755}" sibTransId="{82F3B438-E95F-4745-BD60-EDC146E918A3}"/>
    <dgm:cxn modelId="{A73B8FD1-3B05-426C-BCA8-7288EDDFD2C2}" srcId="{7CFF6240-33C1-4B43-92DE-29DE9B95E919}" destId="{5C50C843-16AD-4A19-89AE-6BD9FE4A87F0}" srcOrd="2" destOrd="0" parTransId="{A57EB72B-E14A-43E2-B286-EBE32266561B}" sibTransId="{62C820F6-377F-422B-AD4A-773EB923D05C}"/>
    <dgm:cxn modelId="{52B01DE6-7873-4912-8FC9-0CBC54098A91}" type="presOf" srcId="{7CFF6240-33C1-4B43-92DE-29DE9B95E919}" destId="{3BFCAE01-2A8C-4C4E-9CCF-EB60938F0E94}" srcOrd="0" destOrd="0" presId="urn:microsoft.com/office/officeart/2005/8/layout/default"/>
    <dgm:cxn modelId="{30600FF4-0352-409B-B2C2-016B1483CDD5}" srcId="{7CFF6240-33C1-4B43-92DE-29DE9B95E919}" destId="{E5993C79-7042-4074-A5FC-EBB7B65E310D}" srcOrd="0" destOrd="0" parTransId="{3E0BE268-F84C-4B58-B460-87034FF4CBBD}" sibTransId="{39E4BA76-825F-4779-8DF0-B31383984610}"/>
    <dgm:cxn modelId="{F89DDAF5-2E95-4470-A94F-C1A6B204F844}" srcId="{7CFF6240-33C1-4B43-92DE-29DE9B95E919}" destId="{197CAE68-2991-43D6-AA60-F3884E63900A}" srcOrd="4" destOrd="0" parTransId="{EC8AEC30-A828-43F2-B5AF-E20080915E79}" sibTransId="{67F3F940-0B9F-4792-84C2-C9DEDB5715F6}"/>
    <dgm:cxn modelId="{63256873-E39B-454A-918F-28AA82BE010D}" type="presParOf" srcId="{3BFCAE01-2A8C-4C4E-9CCF-EB60938F0E94}" destId="{F9DEC5D0-036A-4DDD-BA4C-3264D84E37AB}" srcOrd="0" destOrd="0" presId="urn:microsoft.com/office/officeart/2005/8/layout/default"/>
    <dgm:cxn modelId="{331B1638-AF8E-494B-9F57-094CB120FFA6}" type="presParOf" srcId="{3BFCAE01-2A8C-4C4E-9CCF-EB60938F0E94}" destId="{DBF5CD7C-A4C8-400A-B045-65D36603EB27}" srcOrd="1" destOrd="0" presId="urn:microsoft.com/office/officeart/2005/8/layout/default"/>
    <dgm:cxn modelId="{15B5896B-F3F2-4FEE-B14A-CB547B10B1B7}" type="presParOf" srcId="{3BFCAE01-2A8C-4C4E-9CCF-EB60938F0E94}" destId="{555B0186-312E-4A67-BAF8-E2FDC9ED78A9}" srcOrd="2" destOrd="0" presId="urn:microsoft.com/office/officeart/2005/8/layout/default"/>
    <dgm:cxn modelId="{D8C0A22E-6CDD-4AA3-9234-BBFF43BDB975}" type="presParOf" srcId="{3BFCAE01-2A8C-4C4E-9CCF-EB60938F0E94}" destId="{9FB145E1-321E-491F-B433-B8AA2AADF190}" srcOrd="3" destOrd="0" presId="urn:microsoft.com/office/officeart/2005/8/layout/default"/>
    <dgm:cxn modelId="{40F3012F-7A0D-4D3D-8A67-A1AC92F4C850}" type="presParOf" srcId="{3BFCAE01-2A8C-4C4E-9CCF-EB60938F0E94}" destId="{5340BE9B-2AF3-44BD-9A4C-0F77FBC0B7B1}" srcOrd="4" destOrd="0" presId="urn:microsoft.com/office/officeart/2005/8/layout/default"/>
    <dgm:cxn modelId="{256E4E60-FA3D-4C97-99A2-47A47B689EDA}" type="presParOf" srcId="{3BFCAE01-2A8C-4C4E-9CCF-EB60938F0E94}" destId="{91124368-3324-4384-80A1-25E084F3D6DF}" srcOrd="5" destOrd="0" presId="urn:microsoft.com/office/officeart/2005/8/layout/default"/>
    <dgm:cxn modelId="{0A2B53FE-C32B-4704-B807-6F770D724E59}" type="presParOf" srcId="{3BFCAE01-2A8C-4C4E-9CCF-EB60938F0E94}" destId="{C388BB12-6A6B-465B-B1BF-474DB6920E0E}" srcOrd="6" destOrd="0" presId="urn:microsoft.com/office/officeart/2005/8/layout/default"/>
    <dgm:cxn modelId="{0914984A-4CDE-43B8-BEDC-362DAB04E5EC}" type="presParOf" srcId="{3BFCAE01-2A8C-4C4E-9CCF-EB60938F0E94}" destId="{3623E566-DBD3-4F81-A29B-4111F2690DDB}" srcOrd="7" destOrd="0" presId="urn:microsoft.com/office/officeart/2005/8/layout/default"/>
    <dgm:cxn modelId="{5763F3FD-F1EC-4146-8F31-4EFE0AAA5B6E}" type="presParOf" srcId="{3BFCAE01-2A8C-4C4E-9CCF-EB60938F0E94}" destId="{7DF38CB3-1888-4704-ADFF-7CF137429912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A287977-41D3-4B11-B2C5-4C5EFA412B13}" type="doc">
      <dgm:prSet loTypeId="urn:microsoft.com/office/officeart/2005/8/layout/process1" loCatId="process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s-MX"/>
        </a:p>
      </dgm:t>
    </dgm:pt>
    <dgm:pt modelId="{CFC52713-F872-4288-97B3-1345FB9D67CB}">
      <dgm:prSet custT="1"/>
      <dgm:spPr>
        <a:xfrm>
          <a:off x="3537959" y="255069"/>
          <a:ext cx="3512439" cy="3512439"/>
        </a:xfrm>
        <a:solidFill>
          <a:schemeClr val="tx1">
            <a:lumMod val="50000"/>
            <a:lumOff val="50000"/>
          </a:schemeClr>
        </a:solidFill>
      </dgm:spPr>
      <dgm:t>
        <a:bodyPr/>
        <a:lstStyle/>
        <a:p>
          <a:pPr rtl="0"/>
          <a:r>
            <a:rPr lang="es-MX" sz="1400" b="1" dirty="0">
              <a:latin typeface="Calibri" panose="020F0502020204030204"/>
              <a:ea typeface="+mn-ea"/>
              <a:cs typeface="+mn-cs"/>
            </a:rPr>
            <a:t>Pruebas</a:t>
          </a:r>
          <a:br>
            <a:rPr lang="es-MX" sz="1400" b="1" dirty="0">
              <a:latin typeface="Calibri" panose="020F0502020204030204"/>
              <a:ea typeface="+mn-ea"/>
              <a:cs typeface="+mn-cs"/>
            </a:rPr>
          </a:br>
          <a:r>
            <a:rPr lang="es-MX" sz="1400" b="1" dirty="0">
              <a:latin typeface="Calibri" panose="020F0502020204030204"/>
              <a:ea typeface="+mn-ea"/>
              <a:cs typeface="+mn-cs"/>
            </a:rPr>
            <a:t> BCP</a:t>
          </a:r>
        </a:p>
      </dgm:t>
    </dgm:pt>
    <dgm:pt modelId="{FD62BEAD-D4A7-4261-8E8B-256D81B05740}" type="parTrans" cxnId="{BB66FE44-8039-4F23-B6D1-1CB26CF75B4F}">
      <dgm:prSet/>
      <dgm:spPr/>
      <dgm:t>
        <a:bodyPr/>
        <a:lstStyle/>
        <a:p>
          <a:endParaRPr lang="es-MX" sz="1000" b="1"/>
        </a:p>
      </dgm:t>
    </dgm:pt>
    <dgm:pt modelId="{DC7B9531-7BCB-43C5-A144-28B34F1A5D33}" type="sibTrans" cxnId="{BB66FE44-8039-4F23-B6D1-1CB26CF75B4F}">
      <dgm:prSet phldrT="01" custT="1"/>
      <dgm:spPr>
        <a:solidFill>
          <a:srgbClr val="FF0000"/>
        </a:solidFill>
      </dgm:spPr>
      <dgm:t>
        <a:bodyPr/>
        <a:lstStyle/>
        <a:p>
          <a:endParaRPr lang="es-MX" sz="1200" b="1" dirty="0"/>
        </a:p>
      </dgm:t>
    </dgm:pt>
    <dgm:pt modelId="{DA435C98-E508-49CB-B0BE-CD6160381E17}">
      <dgm:prSet custT="1"/>
      <dgm:spPr>
        <a:xfrm>
          <a:off x="3501580" y="413966"/>
          <a:ext cx="3512439" cy="3512439"/>
        </a:xfrm>
        <a:solidFill>
          <a:schemeClr val="tx1">
            <a:lumMod val="50000"/>
            <a:lumOff val="50000"/>
          </a:schemeClr>
        </a:solidFill>
      </dgm:spPr>
      <dgm:t>
        <a:bodyPr/>
        <a:lstStyle/>
        <a:p>
          <a:pPr rtl="0"/>
          <a:r>
            <a:rPr lang="es-MX" sz="1400" b="1" dirty="0">
              <a:latin typeface="Calibri" panose="020F0502020204030204"/>
              <a:ea typeface="+mn-ea"/>
              <a:cs typeface="+mn-cs"/>
            </a:rPr>
            <a:t>Recuperación durante la Contingencia (</a:t>
          </a:r>
          <a:r>
            <a:rPr lang="es-MX" sz="1400" b="1" dirty="0" err="1">
              <a:latin typeface="Calibri" panose="020F0502020204030204"/>
              <a:ea typeface="+mn-ea"/>
              <a:cs typeface="+mn-cs"/>
            </a:rPr>
            <a:t>DRP</a:t>
          </a:r>
          <a:r>
            <a:rPr lang="es-MX" sz="1400" b="1" dirty="0">
              <a:latin typeface="Calibri" panose="020F0502020204030204"/>
              <a:ea typeface="+mn-ea"/>
              <a:cs typeface="+mn-cs"/>
            </a:rPr>
            <a:t>)</a:t>
          </a:r>
        </a:p>
      </dgm:t>
    </dgm:pt>
    <dgm:pt modelId="{08F64795-4161-4005-9AFD-04A03C2E3CEA}" type="parTrans" cxnId="{4FD6D98B-EFEB-4924-8545-7ABAF340BC46}">
      <dgm:prSet/>
      <dgm:spPr/>
      <dgm:t>
        <a:bodyPr/>
        <a:lstStyle/>
        <a:p>
          <a:endParaRPr lang="es-MX" sz="1000" b="1"/>
        </a:p>
      </dgm:t>
    </dgm:pt>
    <dgm:pt modelId="{AE89220C-CAFB-4674-BACF-CD3F4AEEF437}" type="sibTrans" cxnId="{4FD6D98B-EFEB-4924-8545-7ABAF340BC46}">
      <dgm:prSet phldrT="04" custT="1"/>
      <dgm:spPr>
        <a:solidFill>
          <a:srgbClr val="FF0000"/>
        </a:solidFill>
      </dgm:spPr>
      <dgm:t>
        <a:bodyPr/>
        <a:lstStyle/>
        <a:p>
          <a:endParaRPr lang="es-MX" sz="1200" b="1" dirty="0"/>
        </a:p>
      </dgm:t>
    </dgm:pt>
    <dgm:pt modelId="{173470D1-374A-4E74-8784-D79F5F13DC10}">
      <dgm:prSet custT="1"/>
      <dgm:spPr>
        <a:xfrm>
          <a:off x="3436349" y="382604"/>
          <a:ext cx="3512439" cy="3512439"/>
        </a:xfrm>
        <a:solidFill>
          <a:schemeClr val="tx1">
            <a:lumMod val="50000"/>
            <a:lumOff val="50000"/>
          </a:schemeClr>
        </a:solidFill>
      </dgm:spPr>
      <dgm:t>
        <a:bodyPr/>
        <a:lstStyle/>
        <a:p>
          <a:pPr rtl="0"/>
          <a:r>
            <a:rPr lang="es-MX" sz="1400" b="1" dirty="0">
              <a:latin typeface="Calibri" panose="020F0502020204030204"/>
              <a:ea typeface="+mn-ea"/>
              <a:cs typeface="+mn-cs"/>
            </a:rPr>
            <a:t>Preventivos Después de la Contingencia</a:t>
          </a:r>
        </a:p>
      </dgm:t>
    </dgm:pt>
    <dgm:pt modelId="{A770B998-5CDA-494C-9798-3FD67546AD23}" type="parTrans" cxnId="{9C8EA8AA-7CBE-43C2-991B-46FE6494FB30}">
      <dgm:prSet/>
      <dgm:spPr/>
      <dgm:t>
        <a:bodyPr/>
        <a:lstStyle/>
        <a:p>
          <a:endParaRPr lang="es-MX" sz="1000" b="1"/>
        </a:p>
      </dgm:t>
    </dgm:pt>
    <dgm:pt modelId="{D0221142-C6FB-49FA-B7B1-B3CBEF87BFCF}" type="sibTrans" cxnId="{9C8EA8AA-7CBE-43C2-991B-46FE6494FB30}">
      <dgm:prSet phldrT="05" custT="1"/>
      <dgm:spPr>
        <a:solidFill>
          <a:srgbClr val="FF0000"/>
        </a:solidFill>
      </dgm:spPr>
      <dgm:t>
        <a:bodyPr/>
        <a:lstStyle/>
        <a:p>
          <a:endParaRPr lang="es-MX" sz="1200" b="1" dirty="0"/>
        </a:p>
      </dgm:t>
    </dgm:pt>
    <dgm:pt modelId="{91AB7331-230B-4730-8C53-60BF88EAB5EC}">
      <dgm:prSet custT="1"/>
      <dgm:spPr>
        <a:xfrm>
          <a:off x="3420041" y="311519"/>
          <a:ext cx="3512439" cy="3512439"/>
        </a:xfrm>
        <a:solidFill>
          <a:schemeClr val="tx1">
            <a:lumMod val="50000"/>
            <a:lumOff val="50000"/>
          </a:schemeClr>
        </a:solidFill>
      </dgm:spPr>
      <dgm:t>
        <a:bodyPr/>
        <a:lstStyle/>
        <a:p>
          <a:pPr rtl="0"/>
          <a:r>
            <a:rPr lang="es-MX" sz="1400" b="1" dirty="0">
              <a:latin typeface="Calibri" panose="020F0502020204030204"/>
              <a:ea typeface="+mn-ea"/>
              <a:cs typeface="+mn-cs"/>
            </a:rPr>
            <a:t>Preparación para el Retorno a la Normalidad</a:t>
          </a:r>
        </a:p>
      </dgm:t>
    </dgm:pt>
    <dgm:pt modelId="{34CC1D94-D8DE-471F-B1CC-7FFE486AC4E3}" type="parTrans" cxnId="{DBD51CC5-1F19-407B-8DD4-C10752DE321D}">
      <dgm:prSet/>
      <dgm:spPr/>
      <dgm:t>
        <a:bodyPr/>
        <a:lstStyle/>
        <a:p>
          <a:endParaRPr lang="es-MX" sz="1000" b="1"/>
        </a:p>
      </dgm:t>
    </dgm:pt>
    <dgm:pt modelId="{A15DA9BA-9452-4A07-BE07-DD2421B26C40}" type="sibTrans" cxnId="{DBD51CC5-1F19-407B-8DD4-C10752DE321D}">
      <dgm:prSet phldrT="06"/>
      <dgm:spPr/>
      <dgm:t>
        <a:bodyPr/>
        <a:lstStyle/>
        <a:p>
          <a:endParaRPr lang="es-MX" sz="2000" b="1" dirty="0"/>
        </a:p>
      </dgm:t>
    </dgm:pt>
    <dgm:pt modelId="{D92FBF47-67D3-4B1C-9D64-4C48E28B0F9B}">
      <dgm:prSet custT="1"/>
      <dgm:spPr>
        <a:xfrm>
          <a:off x="3537959" y="255069"/>
          <a:ext cx="3512439" cy="3512439"/>
        </a:xfrm>
        <a:solidFill>
          <a:schemeClr val="tx1">
            <a:lumMod val="50000"/>
            <a:lumOff val="50000"/>
          </a:schemeClr>
        </a:solidFill>
      </dgm:spPr>
      <dgm:t>
        <a:bodyPr/>
        <a:lstStyle/>
        <a:p>
          <a:pPr rtl="0"/>
          <a:r>
            <a:rPr lang="es-MX" sz="1400" b="1" dirty="0">
              <a:latin typeface="Calibri" panose="020F0502020204030204"/>
              <a:ea typeface="+mn-ea"/>
              <a:cs typeface="+mn-cs"/>
            </a:rPr>
            <a:t>Procedimiento de Emergencia</a:t>
          </a:r>
        </a:p>
      </dgm:t>
    </dgm:pt>
    <dgm:pt modelId="{6EE5B344-60F0-4216-AB34-1C5F70011DFE}" type="parTrans" cxnId="{B65D7DB6-D4E1-4CD6-BFF5-67552FC71351}">
      <dgm:prSet/>
      <dgm:spPr/>
      <dgm:t>
        <a:bodyPr/>
        <a:lstStyle/>
        <a:p>
          <a:endParaRPr lang="es-MX" sz="2000" b="1"/>
        </a:p>
      </dgm:t>
    </dgm:pt>
    <dgm:pt modelId="{B5BC733A-1A14-43E4-9DA7-FF12C40C91D4}" type="sibTrans" cxnId="{B65D7DB6-D4E1-4CD6-BFF5-67552FC71351}">
      <dgm:prSet phldrT="02" custT="1"/>
      <dgm:spPr>
        <a:solidFill>
          <a:srgbClr val="FF0000"/>
        </a:solidFill>
      </dgm:spPr>
      <dgm:t>
        <a:bodyPr/>
        <a:lstStyle/>
        <a:p>
          <a:endParaRPr lang="es-MX" sz="1200" b="1" dirty="0"/>
        </a:p>
      </dgm:t>
    </dgm:pt>
    <dgm:pt modelId="{16FFBE69-3E0C-4AAC-95E9-C53BBF22F760}">
      <dgm:prSet custT="1"/>
      <dgm:spPr>
        <a:xfrm>
          <a:off x="3537959" y="255069"/>
          <a:ext cx="3512439" cy="3512439"/>
        </a:xfrm>
        <a:solidFill>
          <a:schemeClr val="tx1">
            <a:lumMod val="50000"/>
            <a:lumOff val="50000"/>
          </a:schemeClr>
        </a:solidFill>
      </dgm:spPr>
      <dgm:t>
        <a:bodyPr/>
        <a:lstStyle/>
        <a:p>
          <a:pPr rtl="0"/>
          <a:r>
            <a:rPr lang="es-MX" sz="1400" b="1" dirty="0">
              <a:latin typeface="Calibri" panose="020F0502020204030204"/>
              <a:ea typeface="+mn-ea"/>
              <a:cs typeface="+mn-cs"/>
            </a:rPr>
            <a:t>Preventivos antes de la Contingencia</a:t>
          </a:r>
        </a:p>
      </dgm:t>
    </dgm:pt>
    <dgm:pt modelId="{7AC013CD-35F6-47AE-93D5-5DA215CFB061}" type="parTrans" cxnId="{95E1A02C-7803-4EF8-A8B9-41DDD81125D7}">
      <dgm:prSet/>
      <dgm:spPr/>
      <dgm:t>
        <a:bodyPr/>
        <a:lstStyle/>
        <a:p>
          <a:endParaRPr lang="es-MX" sz="2000" b="1"/>
        </a:p>
      </dgm:t>
    </dgm:pt>
    <dgm:pt modelId="{EF980B39-F727-4378-8E74-9B25D9CB0C50}" type="sibTrans" cxnId="{95E1A02C-7803-4EF8-A8B9-41DDD81125D7}">
      <dgm:prSet custT="1"/>
      <dgm:spPr>
        <a:solidFill>
          <a:srgbClr val="FF0000"/>
        </a:solidFill>
      </dgm:spPr>
      <dgm:t>
        <a:bodyPr/>
        <a:lstStyle/>
        <a:p>
          <a:endParaRPr lang="es-MX" sz="1200" b="1"/>
        </a:p>
      </dgm:t>
    </dgm:pt>
    <dgm:pt modelId="{D5A6D7E0-121F-41BB-A1AD-4D87B87364A1}">
      <dgm:prSet custT="1"/>
      <dgm:spPr>
        <a:xfrm>
          <a:off x="3583119" y="311519"/>
          <a:ext cx="3512439" cy="3512439"/>
        </a:xfrm>
        <a:solidFill>
          <a:schemeClr val="tx1">
            <a:lumMod val="50000"/>
            <a:lumOff val="50000"/>
          </a:schemeClr>
        </a:solidFill>
      </dgm:spPr>
      <dgm:t>
        <a:bodyPr/>
        <a:lstStyle/>
        <a:p>
          <a:pPr rtl="0"/>
          <a:r>
            <a:rPr lang="es-MX" sz="1400" b="1">
              <a:latin typeface="Calibri" panose="020F0502020204030204"/>
              <a:ea typeface="+mn-ea"/>
              <a:cs typeface="+mn-cs"/>
            </a:rPr>
            <a:t>Respuesta de Operación TIC</a:t>
          </a:r>
          <a:endParaRPr lang="es-MX" sz="1400" b="1" dirty="0">
            <a:latin typeface="Calibri" panose="020F0502020204030204"/>
            <a:ea typeface="+mn-ea"/>
            <a:cs typeface="+mn-cs"/>
          </a:endParaRPr>
        </a:p>
      </dgm:t>
    </dgm:pt>
    <dgm:pt modelId="{C423AD80-F92F-4769-9625-8935D1A1496C}" type="parTrans" cxnId="{F4B5CE37-8FC3-4B62-8787-01959FA3C6B0}">
      <dgm:prSet/>
      <dgm:spPr/>
      <dgm:t>
        <a:bodyPr/>
        <a:lstStyle/>
        <a:p>
          <a:endParaRPr lang="es-MX" sz="2000" b="1"/>
        </a:p>
      </dgm:t>
    </dgm:pt>
    <dgm:pt modelId="{9302C53C-5939-43A0-8CF4-99A3BFA6613F}" type="sibTrans" cxnId="{F4B5CE37-8FC3-4B62-8787-01959FA3C6B0}">
      <dgm:prSet custT="1"/>
      <dgm:spPr>
        <a:solidFill>
          <a:srgbClr val="FF0000"/>
        </a:solidFill>
      </dgm:spPr>
      <dgm:t>
        <a:bodyPr/>
        <a:lstStyle/>
        <a:p>
          <a:endParaRPr lang="es-MX" sz="1200" b="1"/>
        </a:p>
      </dgm:t>
    </dgm:pt>
    <dgm:pt modelId="{7F7B59E3-03C1-4EB0-8C91-5E97E0A08770}" type="pres">
      <dgm:prSet presAssocID="{3A287977-41D3-4B11-B2C5-4C5EFA412B13}" presName="Name0" presStyleCnt="0">
        <dgm:presLayoutVars>
          <dgm:dir/>
          <dgm:resizeHandles val="exact"/>
        </dgm:presLayoutVars>
      </dgm:prSet>
      <dgm:spPr/>
    </dgm:pt>
    <dgm:pt modelId="{286BAE4A-BDEC-4645-99B1-FC1A7FCCC9E9}" type="pres">
      <dgm:prSet presAssocID="{CFC52713-F872-4288-97B3-1345FB9D67CB}" presName="node" presStyleLbl="node1" presStyleIdx="0" presStyleCnt="7" custScaleX="68627">
        <dgm:presLayoutVars>
          <dgm:bulletEnabled val="1"/>
        </dgm:presLayoutVars>
      </dgm:prSet>
      <dgm:spPr/>
    </dgm:pt>
    <dgm:pt modelId="{C85828FB-C713-4DE8-8BBF-0CCDB63E6FED}" type="pres">
      <dgm:prSet presAssocID="{DC7B9531-7BCB-43C5-A144-28B34F1A5D33}" presName="sibTrans" presStyleLbl="sibTrans2D1" presStyleIdx="0" presStyleCnt="6"/>
      <dgm:spPr/>
    </dgm:pt>
    <dgm:pt modelId="{C381307D-F269-430C-BA14-3C9C35B171E6}" type="pres">
      <dgm:prSet presAssocID="{DC7B9531-7BCB-43C5-A144-28B34F1A5D33}" presName="connectorText" presStyleLbl="sibTrans2D1" presStyleIdx="0" presStyleCnt="6"/>
      <dgm:spPr/>
    </dgm:pt>
    <dgm:pt modelId="{DB45B3FE-18AC-4197-85D3-C2B24345A404}" type="pres">
      <dgm:prSet presAssocID="{16FFBE69-3E0C-4AAC-95E9-C53BBF22F760}" presName="node" presStyleLbl="node1" presStyleIdx="1" presStyleCnt="7">
        <dgm:presLayoutVars>
          <dgm:bulletEnabled val="1"/>
        </dgm:presLayoutVars>
      </dgm:prSet>
      <dgm:spPr/>
    </dgm:pt>
    <dgm:pt modelId="{FBC4CDEF-C906-4C6E-98F2-3DDB45C44ADA}" type="pres">
      <dgm:prSet presAssocID="{EF980B39-F727-4378-8E74-9B25D9CB0C50}" presName="sibTrans" presStyleLbl="sibTrans2D1" presStyleIdx="1" presStyleCnt="6"/>
      <dgm:spPr/>
    </dgm:pt>
    <dgm:pt modelId="{0E83278E-DABA-4DF5-876D-588B7C118743}" type="pres">
      <dgm:prSet presAssocID="{EF980B39-F727-4378-8E74-9B25D9CB0C50}" presName="connectorText" presStyleLbl="sibTrans2D1" presStyleIdx="1" presStyleCnt="6"/>
      <dgm:spPr/>
    </dgm:pt>
    <dgm:pt modelId="{D976DA62-D79F-4A29-A1B3-E2EB2E165BE8}" type="pres">
      <dgm:prSet presAssocID="{D92FBF47-67D3-4B1C-9D64-4C48E28B0F9B}" presName="node" presStyleLbl="node1" presStyleIdx="2" presStyleCnt="7" custScaleX="117016">
        <dgm:presLayoutVars>
          <dgm:bulletEnabled val="1"/>
        </dgm:presLayoutVars>
      </dgm:prSet>
      <dgm:spPr/>
    </dgm:pt>
    <dgm:pt modelId="{BB584697-75F9-45CE-B745-FFB15B5B71B7}" type="pres">
      <dgm:prSet presAssocID="{B5BC733A-1A14-43E4-9DA7-FF12C40C91D4}" presName="sibTrans" presStyleLbl="sibTrans2D1" presStyleIdx="2" presStyleCnt="6"/>
      <dgm:spPr/>
    </dgm:pt>
    <dgm:pt modelId="{6D37F1E8-037C-4771-8A6E-AB6FA4655031}" type="pres">
      <dgm:prSet presAssocID="{B5BC733A-1A14-43E4-9DA7-FF12C40C91D4}" presName="connectorText" presStyleLbl="sibTrans2D1" presStyleIdx="2" presStyleCnt="6"/>
      <dgm:spPr/>
    </dgm:pt>
    <dgm:pt modelId="{9DCDABB7-2251-421E-BD60-2EC167B820E9}" type="pres">
      <dgm:prSet presAssocID="{DA435C98-E508-49CB-B0BE-CD6160381E17}" presName="node" presStyleLbl="node1" presStyleIdx="3" presStyleCnt="7">
        <dgm:presLayoutVars>
          <dgm:bulletEnabled val="1"/>
        </dgm:presLayoutVars>
      </dgm:prSet>
      <dgm:spPr/>
    </dgm:pt>
    <dgm:pt modelId="{C667FD9B-DBAF-42E1-9819-93C3288325D4}" type="pres">
      <dgm:prSet presAssocID="{AE89220C-CAFB-4674-BACF-CD3F4AEEF437}" presName="sibTrans" presStyleLbl="sibTrans2D1" presStyleIdx="3" presStyleCnt="6"/>
      <dgm:spPr/>
    </dgm:pt>
    <dgm:pt modelId="{27EB4674-2AC2-4D91-8F35-E0C7F74F877F}" type="pres">
      <dgm:prSet presAssocID="{AE89220C-CAFB-4674-BACF-CD3F4AEEF437}" presName="connectorText" presStyleLbl="sibTrans2D1" presStyleIdx="3" presStyleCnt="6"/>
      <dgm:spPr/>
    </dgm:pt>
    <dgm:pt modelId="{B0B53299-929D-450B-90CF-1E5EF4BF45F5}" type="pres">
      <dgm:prSet presAssocID="{D5A6D7E0-121F-41BB-A1AD-4D87B87364A1}" presName="node" presStyleLbl="node1" presStyleIdx="4" presStyleCnt="7">
        <dgm:presLayoutVars>
          <dgm:bulletEnabled val="1"/>
        </dgm:presLayoutVars>
      </dgm:prSet>
      <dgm:spPr/>
    </dgm:pt>
    <dgm:pt modelId="{E23630FE-6185-4FDA-901F-3851E8646C44}" type="pres">
      <dgm:prSet presAssocID="{9302C53C-5939-43A0-8CF4-99A3BFA6613F}" presName="sibTrans" presStyleLbl="sibTrans2D1" presStyleIdx="4" presStyleCnt="6"/>
      <dgm:spPr/>
    </dgm:pt>
    <dgm:pt modelId="{716EC97B-6296-4A5E-B273-B1E8621D7C40}" type="pres">
      <dgm:prSet presAssocID="{9302C53C-5939-43A0-8CF4-99A3BFA6613F}" presName="connectorText" presStyleLbl="sibTrans2D1" presStyleIdx="4" presStyleCnt="6"/>
      <dgm:spPr/>
    </dgm:pt>
    <dgm:pt modelId="{EC7115ED-1945-4A15-B98D-9393B227DD59}" type="pres">
      <dgm:prSet presAssocID="{173470D1-374A-4E74-8784-D79F5F13DC10}" presName="node" presStyleLbl="node1" presStyleIdx="5" presStyleCnt="7">
        <dgm:presLayoutVars>
          <dgm:bulletEnabled val="1"/>
        </dgm:presLayoutVars>
      </dgm:prSet>
      <dgm:spPr/>
    </dgm:pt>
    <dgm:pt modelId="{919CCDCA-EF6E-48EF-8E0B-13BE0E19EDDE}" type="pres">
      <dgm:prSet presAssocID="{D0221142-C6FB-49FA-B7B1-B3CBEF87BFCF}" presName="sibTrans" presStyleLbl="sibTrans2D1" presStyleIdx="5" presStyleCnt="6"/>
      <dgm:spPr/>
    </dgm:pt>
    <dgm:pt modelId="{C576AA5A-3E47-45A7-8B08-DA9B52683564}" type="pres">
      <dgm:prSet presAssocID="{D0221142-C6FB-49FA-B7B1-B3CBEF87BFCF}" presName="connectorText" presStyleLbl="sibTrans2D1" presStyleIdx="5" presStyleCnt="6"/>
      <dgm:spPr/>
    </dgm:pt>
    <dgm:pt modelId="{31339271-283D-4212-ABD2-0E1A53B30A25}" type="pres">
      <dgm:prSet presAssocID="{91AB7331-230B-4730-8C53-60BF88EAB5EC}" presName="node" presStyleLbl="node1" presStyleIdx="6" presStyleCnt="7">
        <dgm:presLayoutVars>
          <dgm:bulletEnabled val="1"/>
        </dgm:presLayoutVars>
      </dgm:prSet>
      <dgm:spPr/>
    </dgm:pt>
  </dgm:ptLst>
  <dgm:cxnLst>
    <dgm:cxn modelId="{C9BB4504-7D01-4DF5-9F2F-C3334E7E2B85}" type="presOf" srcId="{EF980B39-F727-4378-8E74-9B25D9CB0C50}" destId="{0E83278E-DABA-4DF5-876D-588B7C118743}" srcOrd="1" destOrd="0" presId="urn:microsoft.com/office/officeart/2005/8/layout/process1"/>
    <dgm:cxn modelId="{EDF23B0C-65F6-479C-A36C-EB301DD212C2}" type="presOf" srcId="{16FFBE69-3E0C-4AAC-95E9-C53BBF22F760}" destId="{DB45B3FE-18AC-4197-85D3-C2B24345A404}" srcOrd="0" destOrd="0" presId="urn:microsoft.com/office/officeart/2005/8/layout/process1"/>
    <dgm:cxn modelId="{95DF3E0E-EE5F-428B-938C-4C563AAA06A0}" type="presOf" srcId="{B5BC733A-1A14-43E4-9DA7-FF12C40C91D4}" destId="{6D37F1E8-037C-4771-8A6E-AB6FA4655031}" srcOrd="1" destOrd="0" presId="urn:microsoft.com/office/officeart/2005/8/layout/process1"/>
    <dgm:cxn modelId="{95E1A02C-7803-4EF8-A8B9-41DDD81125D7}" srcId="{3A287977-41D3-4B11-B2C5-4C5EFA412B13}" destId="{16FFBE69-3E0C-4AAC-95E9-C53BBF22F760}" srcOrd="1" destOrd="0" parTransId="{7AC013CD-35F6-47AE-93D5-5DA215CFB061}" sibTransId="{EF980B39-F727-4378-8E74-9B25D9CB0C50}"/>
    <dgm:cxn modelId="{F4B5CE37-8FC3-4B62-8787-01959FA3C6B0}" srcId="{3A287977-41D3-4B11-B2C5-4C5EFA412B13}" destId="{D5A6D7E0-121F-41BB-A1AD-4D87B87364A1}" srcOrd="4" destOrd="0" parTransId="{C423AD80-F92F-4769-9625-8935D1A1496C}" sibTransId="{9302C53C-5939-43A0-8CF4-99A3BFA6613F}"/>
    <dgm:cxn modelId="{65E70F3A-B9C5-4781-9439-BB82916D50B8}" type="presOf" srcId="{91AB7331-230B-4730-8C53-60BF88EAB5EC}" destId="{31339271-283D-4212-ABD2-0E1A53B30A25}" srcOrd="0" destOrd="0" presId="urn:microsoft.com/office/officeart/2005/8/layout/process1"/>
    <dgm:cxn modelId="{29DC6F5D-9353-415B-823A-3FD128565A24}" type="presOf" srcId="{3A287977-41D3-4B11-B2C5-4C5EFA412B13}" destId="{7F7B59E3-03C1-4EB0-8C91-5E97E0A08770}" srcOrd="0" destOrd="0" presId="urn:microsoft.com/office/officeart/2005/8/layout/process1"/>
    <dgm:cxn modelId="{66172041-2355-4155-8BBD-B2E394FF9E5A}" type="presOf" srcId="{B5BC733A-1A14-43E4-9DA7-FF12C40C91D4}" destId="{BB584697-75F9-45CE-B745-FFB15B5B71B7}" srcOrd="0" destOrd="0" presId="urn:microsoft.com/office/officeart/2005/8/layout/process1"/>
    <dgm:cxn modelId="{D76E3961-3267-4F8B-84A6-04714CAAA822}" type="presOf" srcId="{D5A6D7E0-121F-41BB-A1AD-4D87B87364A1}" destId="{B0B53299-929D-450B-90CF-1E5EF4BF45F5}" srcOrd="0" destOrd="0" presId="urn:microsoft.com/office/officeart/2005/8/layout/process1"/>
    <dgm:cxn modelId="{BB66FE44-8039-4F23-B6D1-1CB26CF75B4F}" srcId="{3A287977-41D3-4B11-B2C5-4C5EFA412B13}" destId="{CFC52713-F872-4288-97B3-1345FB9D67CB}" srcOrd="0" destOrd="0" parTransId="{FD62BEAD-D4A7-4261-8E8B-256D81B05740}" sibTransId="{DC7B9531-7BCB-43C5-A144-28B34F1A5D33}"/>
    <dgm:cxn modelId="{F24BD96B-EC0A-40E2-8575-EC00F2B0D981}" type="presOf" srcId="{EF980B39-F727-4378-8E74-9B25D9CB0C50}" destId="{FBC4CDEF-C906-4C6E-98F2-3DDB45C44ADA}" srcOrd="0" destOrd="0" presId="urn:microsoft.com/office/officeart/2005/8/layout/process1"/>
    <dgm:cxn modelId="{57B89D6C-BFF3-40F6-80EA-E4533FBC0CDD}" type="presOf" srcId="{DA435C98-E508-49CB-B0BE-CD6160381E17}" destId="{9DCDABB7-2251-421E-BD60-2EC167B820E9}" srcOrd="0" destOrd="0" presId="urn:microsoft.com/office/officeart/2005/8/layout/process1"/>
    <dgm:cxn modelId="{8EFC364F-9FD4-4516-8C0F-19E8EEC1BD33}" type="presOf" srcId="{D0221142-C6FB-49FA-B7B1-B3CBEF87BFCF}" destId="{919CCDCA-EF6E-48EF-8E0B-13BE0E19EDDE}" srcOrd="0" destOrd="0" presId="urn:microsoft.com/office/officeart/2005/8/layout/process1"/>
    <dgm:cxn modelId="{78DED785-8B56-40D6-A661-4F29275CBA25}" type="presOf" srcId="{173470D1-374A-4E74-8784-D79F5F13DC10}" destId="{EC7115ED-1945-4A15-B98D-9393B227DD59}" srcOrd="0" destOrd="0" presId="urn:microsoft.com/office/officeart/2005/8/layout/process1"/>
    <dgm:cxn modelId="{4FD6D98B-EFEB-4924-8545-7ABAF340BC46}" srcId="{3A287977-41D3-4B11-B2C5-4C5EFA412B13}" destId="{DA435C98-E508-49CB-B0BE-CD6160381E17}" srcOrd="3" destOrd="0" parTransId="{08F64795-4161-4005-9AFD-04A03C2E3CEA}" sibTransId="{AE89220C-CAFB-4674-BACF-CD3F4AEEF437}"/>
    <dgm:cxn modelId="{A0A48395-86F6-49E1-857D-1BBBC277040E}" type="presOf" srcId="{AE89220C-CAFB-4674-BACF-CD3F4AEEF437}" destId="{27EB4674-2AC2-4D91-8F35-E0C7F74F877F}" srcOrd="1" destOrd="0" presId="urn:microsoft.com/office/officeart/2005/8/layout/process1"/>
    <dgm:cxn modelId="{32253E9F-0C4B-4BE7-A7CB-6A488CA955FE}" type="presOf" srcId="{D92FBF47-67D3-4B1C-9D64-4C48E28B0F9B}" destId="{D976DA62-D79F-4A29-A1B3-E2EB2E165BE8}" srcOrd="0" destOrd="0" presId="urn:microsoft.com/office/officeart/2005/8/layout/process1"/>
    <dgm:cxn modelId="{F4DE2FA7-157C-44BF-9D54-96360D36021A}" type="presOf" srcId="{9302C53C-5939-43A0-8CF4-99A3BFA6613F}" destId="{716EC97B-6296-4A5E-B273-B1E8621D7C40}" srcOrd="1" destOrd="0" presId="urn:microsoft.com/office/officeart/2005/8/layout/process1"/>
    <dgm:cxn modelId="{2FADC1A8-A8C3-4C1E-85F7-B5DD7F6F44A7}" type="presOf" srcId="{D0221142-C6FB-49FA-B7B1-B3CBEF87BFCF}" destId="{C576AA5A-3E47-45A7-8B08-DA9B52683564}" srcOrd="1" destOrd="0" presId="urn:microsoft.com/office/officeart/2005/8/layout/process1"/>
    <dgm:cxn modelId="{9C8EA8AA-7CBE-43C2-991B-46FE6494FB30}" srcId="{3A287977-41D3-4B11-B2C5-4C5EFA412B13}" destId="{173470D1-374A-4E74-8784-D79F5F13DC10}" srcOrd="5" destOrd="0" parTransId="{A770B998-5CDA-494C-9798-3FD67546AD23}" sibTransId="{D0221142-C6FB-49FA-B7B1-B3CBEF87BFCF}"/>
    <dgm:cxn modelId="{25FA86AC-DD83-47FF-BE25-450C5D4E352C}" type="presOf" srcId="{DC7B9531-7BCB-43C5-A144-28B34F1A5D33}" destId="{C381307D-F269-430C-BA14-3C9C35B171E6}" srcOrd="1" destOrd="0" presId="urn:microsoft.com/office/officeart/2005/8/layout/process1"/>
    <dgm:cxn modelId="{20467CB0-9F97-40E7-8671-4090AAE60B51}" type="presOf" srcId="{DC7B9531-7BCB-43C5-A144-28B34F1A5D33}" destId="{C85828FB-C713-4DE8-8BBF-0CCDB63E6FED}" srcOrd="0" destOrd="0" presId="urn:microsoft.com/office/officeart/2005/8/layout/process1"/>
    <dgm:cxn modelId="{B65D7DB6-D4E1-4CD6-BFF5-67552FC71351}" srcId="{3A287977-41D3-4B11-B2C5-4C5EFA412B13}" destId="{D92FBF47-67D3-4B1C-9D64-4C48E28B0F9B}" srcOrd="2" destOrd="0" parTransId="{6EE5B344-60F0-4216-AB34-1C5F70011DFE}" sibTransId="{B5BC733A-1A14-43E4-9DA7-FF12C40C91D4}"/>
    <dgm:cxn modelId="{DBD51CC5-1F19-407B-8DD4-C10752DE321D}" srcId="{3A287977-41D3-4B11-B2C5-4C5EFA412B13}" destId="{91AB7331-230B-4730-8C53-60BF88EAB5EC}" srcOrd="6" destOrd="0" parTransId="{34CC1D94-D8DE-471F-B1CC-7FFE486AC4E3}" sibTransId="{A15DA9BA-9452-4A07-BE07-DD2421B26C40}"/>
    <dgm:cxn modelId="{DBED18D6-EEA8-482B-9849-3DBFF31EAE8F}" type="presOf" srcId="{9302C53C-5939-43A0-8CF4-99A3BFA6613F}" destId="{E23630FE-6185-4FDA-901F-3851E8646C44}" srcOrd="0" destOrd="0" presId="urn:microsoft.com/office/officeart/2005/8/layout/process1"/>
    <dgm:cxn modelId="{FA2063ED-0285-4A68-874D-F52A35D24064}" type="presOf" srcId="{AE89220C-CAFB-4674-BACF-CD3F4AEEF437}" destId="{C667FD9B-DBAF-42E1-9819-93C3288325D4}" srcOrd="0" destOrd="0" presId="urn:microsoft.com/office/officeart/2005/8/layout/process1"/>
    <dgm:cxn modelId="{E2DDA7F5-1429-4515-BC82-FDFF4D3183FA}" type="presOf" srcId="{CFC52713-F872-4288-97B3-1345FB9D67CB}" destId="{286BAE4A-BDEC-4645-99B1-FC1A7FCCC9E9}" srcOrd="0" destOrd="0" presId="urn:microsoft.com/office/officeart/2005/8/layout/process1"/>
    <dgm:cxn modelId="{16B34059-1303-4E03-A3F6-A71982547C8A}" type="presParOf" srcId="{7F7B59E3-03C1-4EB0-8C91-5E97E0A08770}" destId="{286BAE4A-BDEC-4645-99B1-FC1A7FCCC9E9}" srcOrd="0" destOrd="0" presId="urn:microsoft.com/office/officeart/2005/8/layout/process1"/>
    <dgm:cxn modelId="{32ED1B82-5F42-4D02-921D-1E0B5A9DDAC4}" type="presParOf" srcId="{7F7B59E3-03C1-4EB0-8C91-5E97E0A08770}" destId="{C85828FB-C713-4DE8-8BBF-0CCDB63E6FED}" srcOrd="1" destOrd="0" presId="urn:microsoft.com/office/officeart/2005/8/layout/process1"/>
    <dgm:cxn modelId="{F3A3EB55-C0D2-4AA2-8BAD-E2B53E06A6A3}" type="presParOf" srcId="{C85828FB-C713-4DE8-8BBF-0CCDB63E6FED}" destId="{C381307D-F269-430C-BA14-3C9C35B171E6}" srcOrd="0" destOrd="0" presId="urn:microsoft.com/office/officeart/2005/8/layout/process1"/>
    <dgm:cxn modelId="{DE9D41A9-4F87-4845-8788-9C51FC8D1182}" type="presParOf" srcId="{7F7B59E3-03C1-4EB0-8C91-5E97E0A08770}" destId="{DB45B3FE-18AC-4197-85D3-C2B24345A404}" srcOrd="2" destOrd="0" presId="urn:microsoft.com/office/officeart/2005/8/layout/process1"/>
    <dgm:cxn modelId="{B182B85E-0B15-43D1-B381-28D475B82DE9}" type="presParOf" srcId="{7F7B59E3-03C1-4EB0-8C91-5E97E0A08770}" destId="{FBC4CDEF-C906-4C6E-98F2-3DDB45C44ADA}" srcOrd="3" destOrd="0" presId="urn:microsoft.com/office/officeart/2005/8/layout/process1"/>
    <dgm:cxn modelId="{E7297C75-1CB5-4A75-90E6-60FAE2C4C043}" type="presParOf" srcId="{FBC4CDEF-C906-4C6E-98F2-3DDB45C44ADA}" destId="{0E83278E-DABA-4DF5-876D-588B7C118743}" srcOrd="0" destOrd="0" presId="urn:microsoft.com/office/officeart/2005/8/layout/process1"/>
    <dgm:cxn modelId="{3E4FE4AE-70FD-4499-B7C8-29F6E1F17AEB}" type="presParOf" srcId="{7F7B59E3-03C1-4EB0-8C91-5E97E0A08770}" destId="{D976DA62-D79F-4A29-A1B3-E2EB2E165BE8}" srcOrd="4" destOrd="0" presId="urn:microsoft.com/office/officeart/2005/8/layout/process1"/>
    <dgm:cxn modelId="{B3AF9549-FA67-44ED-B668-40281199420C}" type="presParOf" srcId="{7F7B59E3-03C1-4EB0-8C91-5E97E0A08770}" destId="{BB584697-75F9-45CE-B745-FFB15B5B71B7}" srcOrd="5" destOrd="0" presId="urn:microsoft.com/office/officeart/2005/8/layout/process1"/>
    <dgm:cxn modelId="{D81D2742-EDD2-4552-9B9D-75B49C2D1062}" type="presParOf" srcId="{BB584697-75F9-45CE-B745-FFB15B5B71B7}" destId="{6D37F1E8-037C-4771-8A6E-AB6FA4655031}" srcOrd="0" destOrd="0" presId="urn:microsoft.com/office/officeart/2005/8/layout/process1"/>
    <dgm:cxn modelId="{93360598-D702-47CB-952A-713529B1692E}" type="presParOf" srcId="{7F7B59E3-03C1-4EB0-8C91-5E97E0A08770}" destId="{9DCDABB7-2251-421E-BD60-2EC167B820E9}" srcOrd="6" destOrd="0" presId="urn:microsoft.com/office/officeart/2005/8/layout/process1"/>
    <dgm:cxn modelId="{E961BBFA-3A3A-4E6C-94E6-9080CE42C732}" type="presParOf" srcId="{7F7B59E3-03C1-4EB0-8C91-5E97E0A08770}" destId="{C667FD9B-DBAF-42E1-9819-93C3288325D4}" srcOrd="7" destOrd="0" presId="urn:microsoft.com/office/officeart/2005/8/layout/process1"/>
    <dgm:cxn modelId="{74155C07-B191-4F76-A338-7C67770D6802}" type="presParOf" srcId="{C667FD9B-DBAF-42E1-9819-93C3288325D4}" destId="{27EB4674-2AC2-4D91-8F35-E0C7F74F877F}" srcOrd="0" destOrd="0" presId="urn:microsoft.com/office/officeart/2005/8/layout/process1"/>
    <dgm:cxn modelId="{D507435D-E16E-41CA-867F-A1BB46F87D3C}" type="presParOf" srcId="{7F7B59E3-03C1-4EB0-8C91-5E97E0A08770}" destId="{B0B53299-929D-450B-90CF-1E5EF4BF45F5}" srcOrd="8" destOrd="0" presId="urn:microsoft.com/office/officeart/2005/8/layout/process1"/>
    <dgm:cxn modelId="{FF30A001-3814-4726-BA22-89317E31A82F}" type="presParOf" srcId="{7F7B59E3-03C1-4EB0-8C91-5E97E0A08770}" destId="{E23630FE-6185-4FDA-901F-3851E8646C44}" srcOrd="9" destOrd="0" presId="urn:microsoft.com/office/officeart/2005/8/layout/process1"/>
    <dgm:cxn modelId="{9F43772B-2D8C-4A8C-897C-5A3DF3C9F428}" type="presParOf" srcId="{E23630FE-6185-4FDA-901F-3851E8646C44}" destId="{716EC97B-6296-4A5E-B273-B1E8621D7C40}" srcOrd="0" destOrd="0" presId="urn:microsoft.com/office/officeart/2005/8/layout/process1"/>
    <dgm:cxn modelId="{07D2B893-531D-437A-9F5A-6B6B5A7791DA}" type="presParOf" srcId="{7F7B59E3-03C1-4EB0-8C91-5E97E0A08770}" destId="{EC7115ED-1945-4A15-B98D-9393B227DD59}" srcOrd="10" destOrd="0" presId="urn:microsoft.com/office/officeart/2005/8/layout/process1"/>
    <dgm:cxn modelId="{E862AE30-6373-4A04-A715-D3B876643B07}" type="presParOf" srcId="{7F7B59E3-03C1-4EB0-8C91-5E97E0A08770}" destId="{919CCDCA-EF6E-48EF-8E0B-13BE0E19EDDE}" srcOrd="11" destOrd="0" presId="urn:microsoft.com/office/officeart/2005/8/layout/process1"/>
    <dgm:cxn modelId="{34BEBAE6-7F52-4285-97EE-8DEC8DB99A58}" type="presParOf" srcId="{919CCDCA-EF6E-48EF-8E0B-13BE0E19EDDE}" destId="{C576AA5A-3E47-45A7-8B08-DA9B52683564}" srcOrd="0" destOrd="0" presId="urn:microsoft.com/office/officeart/2005/8/layout/process1"/>
    <dgm:cxn modelId="{E2799482-9408-4CFB-AC3C-7E12E6BC9F09}" type="presParOf" srcId="{7F7B59E3-03C1-4EB0-8C91-5E97E0A08770}" destId="{31339271-283D-4212-ABD2-0E1A53B30A25}" srcOrd="12" destOrd="0" presId="urn:microsoft.com/office/officeart/2005/8/layout/process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FC6821-4BEF-4018-9C5A-5FC5AAACDC2B}">
      <dsp:nvSpPr>
        <dsp:cNvPr id="0" name=""/>
        <dsp:cNvSpPr/>
      </dsp:nvSpPr>
      <dsp:spPr>
        <a:xfrm>
          <a:off x="804" y="0"/>
          <a:ext cx="1715989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100" kern="1200" dirty="0"/>
            <a:t>Influenza AH1N1</a:t>
          </a:r>
          <a:endParaRPr lang="en-US" sz="2100" kern="1200" dirty="0"/>
        </a:p>
      </dsp:txBody>
      <dsp:txXfrm>
        <a:off x="24909" y="24105"/>
        <a:ext cx="1667779" cy="774784"/>
      </dsp:txXfrm>
    </dsp:sp>
    <dsp:sp modelId="{87F6872C-A9B6-4B3A-8557-4B96686DB96B}">
      <dsp:nvSpPr>
        <dsp:cNvPr id="0" name=""/>
        <dsp:cNvSpPr/>
      </dsp:nvSpPr>
      <dsp:spPr>
        <a:xfrm>
          <a:off x="1888392" y="198714"/>
          <a:ext cx="363789" cy="4255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>
        <a:off x="1888392" y="283827"/>
        <a:ext cx="254652" cy="255339"/>
      </dsp:txXfrm>
    </dsp:sp>
    <dsp:sp modelId="{49C38909-E911-4250-9895-393BAF3F30A2}">
      <dsp:nvSpPr>
        <dsp:cNvPr id="0" name=""/>
        <dsp:cNvSpPr/>
      </dsp:nvSpPr>
      <dsp:spPr>
        <a:xfrm>
          <a:off x="2403189" y="0"/>
          <a:ext cx="1715989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kern="1200" dirty="0"/>
            <a:t>Home Office: Atención a clientes</a:t>
          </a:r>
          <a:endParaRPr lang="en-US" sz="1400" kern="1200" dirty="0"/>
        </a:p>
      </dsp:txBody>
      <dsp:txXfrm>
        <a:off x="2427294" y="24105"/>
        <a:ext cx="1667779" cy="7747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FC6821-4BEF-4018-9C5A-5FC5AAACDC2B}">
      <dsp:nvSpPr>
        <dsp:cNvPr id="0" name=""/>
        <dsp:cNvSpPr/>
      </dsp:nvSpPr>
      <dsp:spPr>
        <a:xfrm>
          <a:off x="804" y="0"/>
          <a:ext cx="1715989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000" kern="1200" dirty="0"/>
            <a:t>Inseguridad Monterrey</a:t>
          </a:r>
          <a:endParaRPr lang="en-US" sz="2000" kern="1200" dirty="0"/>
        </a:p>
      </dsp:txBody>
      <dsp:txXfrm>
        <a:off x="24909" y="24105"/>
        <a:ext cx="1667779" cy="774784"/>
      </dsp:txXfrm>
    </dsp:sp>
    <dsp:sp modelId="{87F6872C-A9B6-4B3A-8557-4B96686DB96B}">
      <dsp:nvSpPr>
        <dsp:cNvPr id="0" name=""/>
        <dsp:cNvSpPr/>
      </dsp:nvSpPr>
      <dsp:spPr>
        <a:xfrm>
          <a:off x="1888392" y="198714"/>
          <a:ext cx="363789" cy="4255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888392" y="283827"/>
        <a:ext cx="254652" cy="255339"/>
      </dsp:txXfrm>
    </dsp:sp>
    <dsp:sp modelId="{49C38909-E911-4250-9895-393BAF3F30A2}">
      <dsp:nvSpPr>
        <dsp:cNvPr id="0" name=""/>
        <dsp:cNvSpPr/>
      </dsp:nvSpPr>
      <dsp:spPr>
        <a:xfrm>
          <a:off x="2403189" y="0"/>
          <a:ext cx="1715989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100" kern="1200" dirty="0"/>
            <a:t>Capacidad de operar fuera de las instalaciones/</a:t>
          </a:r>
          <a:r>
            <a:rPr lang="es-419" sz="1100" kern="1200" dirty="0" err="1"/>
            <a:t>datacenters</a:t>
          </a:r>
          <a:endParaRPr lang="en-US" sz="1100" kern="1200" dirty="0"/>
        </a:p>
      </dsp:txBody>
      <dsp:txXfrm>
        <a:off x="2427294" y="24105"/>
        <a:ext cx="1667779" cy="77478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FC6821-4BEF-4018-9C5A-5FC5AAACDC2B}">
      <dsp:nvSpPr>
        <dsp:cNvPr id="0" name=""/>
        <dsp:cNvSpPr/>
      </dsp:nvSpPr>
      <dsp:spPr>
        <a:xfrm>
          <a:off x="2815" y="0"/>
          <a:ext cx="1714313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2400" kern="1200" dirty="0"/>
            <a:t>Huracán Alex</a:t>
          </a:r>
          <a:endParaRPr lang="en-US" sz="2400" kern="1200" dirty="0"/>
        </a:p>
      </dsp:txBody>
      <dsp:txXfrm>
        <a:off x="26920" y="24105"/>
        <a:ext cx="1666103" cy="774784"/>
      </dsp:txXfrm>
    </dsp:sp>
    <dsp:sp modelId="{87F6872C-A9B6-4B3A-8557-4B96686DB96B}">
      <dsp:nvSpPr>
        <dsp:cNvPr id="0" name=""/>
        <dsp:cNvSpPr/>
      </dsp:nvSpPr>
      <dsp:spPr>
        <a:xfrm>
          <a:off x="1888560" y="198922"/>
          <a:ext cx="363434" cy="42514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1888560" y="283952"/>
        <a:ext cx="254404" cy="255089"/>
      </dsp:txXfrm>
    </dsp:sp>
    <dsp:sp modelId="{49C38909-E911-4250-9895-393BAF3F30A2}">
      <dsp:nvSpPr>
        <dsp:cNvPr id="0" name=""/>
        <dsp:cNvSpPr/>
      </dsp:nvSpPr>
      <dsp:spPr>
        <a:xfrm>
          <a:off x="2402854" y="0"/>
          <a:ext cx="1714313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kern="1200" dirty="0"/>
            <a:t>Operación múltiples ubicaciones</a:t>
          </a:r>
          <a:endParaRPr lang="en-US" sz="1400" kern="1200" dirty="0"/>
        </a:p>
      </dsp:txBody>
      <dsp:txXfrm>
        <a:off x="2426959" y="24105"/>
        <a:ext cx="1666103" cy="77478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FC6821-4BEF-4018-9C5A-5FC5AAACDC2B}">
      <dsp:nvSpPr>
        <dsp:cNvPr id="0" name=""/>
        <dsp:cNvSpPr/>
      </dsp:nvSpPr>
      <dsp:spPr>
        <a:xfrm>
          <a:off x="804" y="0"/>
          <a:ext cx="1715989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900" kern="1200" dirty="0"/>
            <a:t>Falla proveedor Servicios Cloud</a:t>
          </a:r>
          <a:endParaRPr lang="en-US" sz="1900" kern="1200" dirty="0"/>
        </a:p>
      </dsp:txBody>
      <dsp:txXfrm>
        <a:off x="24909" y="24105"/>
        <a:ext cx="1667779" cy="774784"/>
      </dsp:txXfrm>
    </dsp:sp>
    <dsp:sp modelId="{87F6872C-A9B6-4B3A-8557-4B96686DB96B}">
      <dsp:nvSpPr>
        <dsp:cNvPr id="0" name=""/>
        <dsp:cNvSpPr/>
      </dsp:nvSpPr>
      <dsp:spPr>
        <a:xfrm>
          <a:off x="1888392" y="198714"/>
          <a:ext cx="363789" cy="4255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1888392" y="283827"/>
        <a:ext cx="254652" cy="255339"/>
      </dsp:txXfrm>
    </dsp:sp>
    <dsp:sp modelId="{49C38909-E911-4250-9895-393BAF3F30A2}">
      <dsp:nvSpPr>
        <dsp:cNvPr id="0" name=""/>
        <dsp:cNvSpPr/>
      </dsp:nvSpPr>
      <dsp:spPr>
        <a:xfrm>
          <a:off x="2403189" y="0"/>
          <a:ext cx="1715989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600" kern="1200" dirty="0"/>
            <a:t>Cloud no es la solución</a:t>
          </a:r>
          <a:endParaRPr lang="en-US" sz="1600" kern="1200" dirty="0"/>
        </a:p>
      </dsp:txBody>
      <dsp:txXfrm>
        <a:off x="2427294" y="24105"/>
        <a:ext cx="1667779" cy="7747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FC6821-4BEF-4018-9C5A-5FC5AAACDC2B}">
      <dsp:nvSpPr>
        <dsp:cNvPr id="0" name=""/>
        <dsp:cNvSpPr/>
      </dsp:nvSpPr>
      <dsp:spPr>
        <a:xfrm>
          <a:off x="804" y="0"/>
          <a:ext cx="1715989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900" kern="1200" dirty="0"/>
            <a:t>Ciberseguridad</a:t>
          </a:r>
          <a:endParaRPr lang="en-US" sz="1900" kern="1200" dirty="0"/>
        </a:p>
      </dsp:txBody>
      <dsp:txXfrm>
        <a:off x="24909" y="24105"/>
        <a:ext cx="1667779" cy="774784"/>
      </dsp:txXfrm>
    </dsp:sp>
    <dsp:sp modelId="{87F6872C-A9B6-4B3A-8557-4B96686DB96B}">
      <dsp:nvSpPr>
        <dsp:cNvPr id="0" name=""/>
        <dsp:cNvSpPr/>
      </dsp:nvSpPr>
      <dsp:spPr>
        <a:xfrm>
          <a:off x="1888392" y="198714"/>
          <a:ext cx="363789" cy="4255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1888392" y="283827"/>
        <a:ext cx="254652" cy="255339"/>
      </dsp:txXfrm>
    </dsp:sp>
    <dsp:sp modelId="{49C38909-E911-4250-9895-393BAF3F30A2}">
      <dsp:nvSpPr>
        <dsp:cNvPr id="0" name=""/>
        <dsp:cNvSpPr/>
      </dsp:nvSpPr>
      <dsp:spPr>
        <a:xfrm>
          <a:off x="2403189" y="0"/>
          <a:ext cx="1715989" cy="8229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600" kern="1200" dirty="0"/>
            <a:t>Tiempo y dinero</a:t>
          </a:r>
          <a:endParaRPr lang="en-US" sz="1600" kern="1200" dirty="0"/>
        </a:p>
      </dsp:txBody>
      <dsp:txXfrm>
        <a:off x="2427294" y="24105"/>
        <a:ext cx="1667779" cy="77478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8BC387-A66D-4AD7-A2BC-E778CCA539E4}">
      <dsp:nvSpPr>
        <dsp:cNvPr id="0" name=""/>
        <dsp:cNvSpPr/>
      </dsp:nvSpPr>
      <dsp:spPr>
        <a:xfrm>
          <a:off x="1303594" y="133608"/>
          <a:ext cx="1001606" cy="100160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E9EC0DB-7CD0-48D5-8FC3-F521BD480594}">
      <dsp:nvSpPr>
        <dsp:cNvPr id="0" name=""/>
        <dsp:cNvSpPr/>
      </dsp:nvSpPr>
      <dsp:spPr>
        <a:xfrm>
          <a:off x="373530" y="1349997"/>
          <a:ext cx="2861733" cy="749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s-MX" sz="2400" kern="1200" dirty="0"/>
            <a:t>Disponibilidad 100% del servicio</a:t>
          </a:r>
          <a:endParaRPr lang="en-US" sz="2400" kern="1200" dirty="0"/>
        </a:p>
      </dsp:txBody>
      <dsp:txXfrm>
        <a:off x="373530" y="1349997"/>
        <a:ext cx="2861733" cy="749250"/>
      </dsp:txXfrm>
    </dsp:sp>
    <dsp:sp modelId="{398F586F-041E-4274-A4E3-7BAA11FBED7C}">
      <dsp:nvSpPr>
        <dsp:cNvPr id="0" name=""/>
        <dsp:cNvSpPr/>
      </dsp:nvSpPr>
      <dsp:spPr>
        <a:xfrm>
          <a:off x="8602" y="2199145"/>
          <a:ext cx="3591590" cy="29293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600" kern="1200" noProof="0" dirty="0" err="1"/>
            <a:t>Anycast</a:t>
          </a:r>
          <a:r>
            <a:rPr lang="es-419" sz="1600" kern="1200" noProof="0" dirty="0"/>
            <a:t> en todos los nodos de DNS con 6 entidades: </a:t>
          </a:r>
          <a:r>
            <a:rPr lang="es-419" sz="1600" b="1" kern="1200" noProof="0" dirty="0"/>
            <a:t>m, e, x, i, c, o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600" kern="1200" noProof="0" dirty="0"/>
            <a:t>7 nodos globales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600" kern="1200" noProof="0" dirty="0"/>
            <a:t>2 nubes de </a:t>
          </a:r>
          <a:r>
            <a:rPr lang="es-419" sz="1600" kern="1200" noProof="0" dirty="0" err="1"/>
            <a:t>anycast</a:t>
          </a:r>
          <a:endParaRPr lang="es-419" sz="1600" kern="1200" noProof="0" dirty="0"/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600" kern="1200" dirty="0"/>
            <a:t>Facilidad de agregar uno o varios servidores al pool.</a:t>
          </a:r>
          <a:endParaRPr lang="es-419" sz="1600" kern="1200" noProof="0" dirty="0"/>
        </a:p>
      </dsp:txBody>
      <dsp:txXfrm>
        <a:off x="8602" y="2199145"/>
        <a:ext cx="3591590" cy="2929382"/>
      </dsp:txXfrm>
    </dsp:sp>
    <dsp:sp modelId="{9084738A-F751-4CBC-978A-FAD24D8F7693}">
      <dsp:nvSpPr>
        <dsp:cNvPr id="0" name=""/>
        <dsp:cNvSpPr/>
      </dsp:nvSpPr>
      <dsp:spPr>
        <a:xfrm>
          <a:off x="5031059" y="133608"/>
          <a:ext cx="1001606" cy="100160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C11E4FA-FE19-4488-B983-B172767352C0}">
      <dsp:nvSpPr>
        <dsp:cNvPr id="0" name=""/>
        <dsp:cNvSpPr/>
      </dsp:nvSpPr>
      <dsp:spPr>
        <a:xfrm>
          <a:off x="4100996" y="1349997"/>
          <a:ext cx="2861733" cy="749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s-MX" sz="2400" kern="1200" dirty="0"/>
            <a:t>Evitar la </a:t>
          </a:r>
          <a:r>
            <a:rPr lang="es-MX" sz="2400" kern="1200" dirty="0" err="1"/>
            <a:t>monocultura</a:t>
          </a:r>
          <a:endParaRPr lang="en-US" sz="2400" kern="1200" dirty="0"/>
        </a:p>
      </dsp:txBody>
      <dsp:txXfrm>
        <a:off x="4100996" y="1349997"/>
        <a:ext cx="2861733" cy="749250"/>
      </dsp:txXfrm>
    </dsp:sp>
    <dsp:sp modelId="{3C352BA4-C619-43D6-B6E2-138649F16D3E}">
      <dsp:nvSpPr>
        <dsp:cNvPr id="0" name=""/>
        <dsp:cNvSpPr/>
      </dsp:nvSpPr>
      <dsp:spPr>
        <a:xfrm>
          <a:off x="4082137" y="2076580"/>
          <a:ext cx="2861733" cy="29293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600" b="1" kern="1200" noProof="0" dirty="0"/>
            <a:t>Sistemas operativos</a:t>
          </a:r>
          <a:r>
            <a:rPr lang="es-419" sz="1400" b="1" kern="1200" noProof="0" dirty="0"/>
            <a:t>: 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kern="1200" noProof="0" dirty="0"/>
            <a:t>FreeBSD, </a:t>
          </a:r>
          <a:r>
            <a:rPr lang="es-419" sz="1400" kern="1200" noProof="0" dirty="0" err="1"/>
            <a:t>Redhat</a:t>
          </a:r>
          <a:r>
            <a:rPr lang="es-419" sz="1400" kern="1200" noProof="0" dirty="0"/>
            <a:t> Linux, Ubuntu Linux.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b="1" kern="1200" noProof="0" dirty="0"/>
            <a:t>Arquitecturas de hardware: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kern="1200" noProof="0" dirty="0"/>
            <a:t>Intel x86 / Nube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b="1" kern="1200" noProof="0" dirty="0"/>
            <a:t>Implementaciones de DNS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kern="1200" noProof="0" dirty="0"/>
            <a:t>BIND, NSD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b="1" kern="1200" noProof="0" dirty="0"/>
            <a:t>Firewalls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kern="1200" noProof="0" dirty="0" err="1"/>
            <a:t>IPTables</a:t>
          </a:r>
          <a:r>
            <a:rPr lang="es-419" sz="1400" kern="1200" noProof="0" dirty="0"/>
            <a:t>, PF, IPFW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b="1" kern="1200" noProof="0" dirty="0"/>
            <a:t>Implementaciones de Ruteo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1400" kern="1200" noProof="0" dirty="0" err="1"/>
            <a:t>Quagga</a:t>
          </a:r>
          <a:r>
            <a:rPr lang="es-419" sz="1400" kern="1200" noProof="0" dirty="0"/>
            <a:t>, FRR, Cisco IOS</a:t>
          </a:r>
        </a:p>
      </dsp:txBody>
      <dsp:txXfrm>
        <a:off x="4082137" y="2076580"/>
        <a:ext cx="2861733" cy="2929382"/>
      </dsp:txXfrm>
    </dsp:sp>
    <dsp:sp modelId="{30214991-8382-491F-A784-5C689FBF74CF}">
      <dsp:nvSpPr>
        <dsp:cNvPr id="0" name=""/>
        <dsp:cNvSpPr/>
      </dsp:nvSpPr>
      <dsp:spPr>
        <a:xfrm>
          <a:off x="8393597" y="133608"/>
          <a:ext cx="1001606" cy="1001606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05FAC6C-416A-421C-BF78-929E4DBB5202}">
      <dsp:nvSpPr>
        <dsp:cNvPr id="0" name=""/>
        <dsp:cNvSpPr/>
      </dsp:nvSpPr>
      <dsp:spPr>
        <a:xfrm>
          <a:off x="7463533" y="1349997"/>
          <a:ext cx="2861733" cy="7492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s-419" sz="2400" b="1" kern="1200" noProof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Mejores tiempos de respuesta y gestión</a:t>
          </a:r>
        </a:p>
      </dsp:txBody>
      <dsp:txXfrm>
        <a:off x="7463533" y="1349997"/>
        <a:ext cx="2861733" cy="749250"/>
      </dsp:txXfrm>
    </dsp:sp>
    <dsp:sp modelId="{45102E2B-F7E4-48F9-B95D-823541A7144E}">
      <dsp:nvSpPr>
        <dsp:cNvPr id="0" name=""/>
        <dsp:cNvSpPr/>
      </dsp:nvSpPr>
      <dsp:spPr>
        <a:xfrm>
          <a:off x="7463533" y="2199145"/>
          <a:ext cx="2861733" cy="29293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MX" sz="1400" kern="1200" dirty="0"/>
            <a:t>Completo control del sistema de DNS</a:t>
          </a:r>
          <a:endParaRPr lang="es-419" sz="1400" kern="1200" noProof="0" dirty="0"/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MX" sz="1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Acceso redundante a todos los servidores:</a:t>
          </a:r>
          <a:br>
            <a:rPr lang="es-MX" sz="1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</a:br>
          <a:r>
            <a:rPr lang="es-MX" sz="1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SSH y KVM sobre Internet</a:t>
          </a:r>
          <a:endParaRPr lang="en-US" sz="14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s-MX" sz="140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Almacenamiento de los archivos de zonas en un folder cifrado</a:t>
          </a:r>
          <a:endParaRPr lang="en-US" sz="140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/>
            <a:ea typeface="+mn-ea"/>
            <a:cs typeface="+mn-cs"/>
          </a:endParaRPr>
        </a:p>
      </dsp:txBody>
      <dsp:txXfrm>
        <a:off x="7463533" y="2199145"/>
        <a:ext cx="2861733" cy="292938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F4AFED-0D89-475F-8B55-7F395E75E8A9}">
      <dsp:nvSpPr>
        <dsp:cNvPr id="0" name=""/>
        <dsp:cNvSpPr/>
      </dsp:nvSpPr>
      <dsp:spPr>
        <a:xfrm>
          <a:off x="0" y="3206"/>
          <a:ext cx="2311398" cy="6717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81280" rIns="81280" bIns="8128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3200" b="1" kern="1200" dirty="0"/>
            <a:t>m</a:t>
          </a:r>
          <a:r>
            <a:rPr lang="es-419" sz="2800" kern="1200" dirty="0"/>
            <a:t>.mx-ns.mx </a:t>
          </a:r>
          <a:r>
            <a:rPr lang="es-419" sz="1000" kern="1200" dirty="0"/>
            <a:t>(IPv6)</a:t>
          </a:r>
          <a:endParaRPr lang="en-US" sz="2100" kern="1200" dirty="0"/>
        </a:p>
      </dsp:txBody>
      <dsp:txXfrm>
        <a:off x="0" y="3206"/>
        <a:ext cx="2311398" cy="671735"/>
      </dsp:txXfrm>
    </dsp:sp>
    <dsp:sp modelId="{F0DCBB34-9D34-4DE2-9AC8-C6BBA5C4895D}">
      <dsp:nvSpPr>
        <dsp:cNvPr id="0" name=""/>
        <dsp:cNvSpPr/>
      </dsp:nvSpPr>
      <dsp:spPr>
        <a:xfrm>
          <a:off x="0" y="708528"/>
          <a:ext cx="2311398" cy="6717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81280" rIns="81280" bIns="8128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3200" b="1" kern="1200" dirty="0"/>
            <a:t>e</a:t>
          </a:r>
          <a:r>
            <a:rPr lang="es-419" sz="2800" kern="1200" dirty="0"/>
            <a:t>.mx-ns.mx</a:t>
          </a:r>
          <a:endParaRPr lang="en-US" sz="2800" kern="1200" dirty="0"/>
        </a:p>
      </dsp:txBody>
      <dsp:txXfrm>
        <a:off x="0" y="708528"/>
        <a:ext cx="2311398" cy="671735"/>
      </dsp:txXfrm>
    </dsp:sp>
    <dsp:sp modelId="{A8E614D0-07BB-4A61-A883-4B71FCE6F54B}">
      <dsp:nvSpPr>
        <dsp:cNvPr id="0" name=""/>
        <dsp:cNvSpPr/>
      </dsp:nvSpPr>
      <dsp:spPr>
        <a:xfrm>
          <a:off x="0" y="1413850"/>
          <a:ext cx="2311398" cy="6717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81280" rIns="81280" bIns="8128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3200" b="1" kern="1200" dirty="0"/>
            <a:t>x</a:t>
          </a:r>
          <a:r>
            <a:rPr lang="es-419" sz="2800" kern="1200" dirty="0"/>
            <a:t>.mx-ns.mx</a:t>
          </a:r>
          <a:endParaRPr lang="en-US" sz="2800" kern="1200" dirty="0"/>
        </a:p>
      </dsp:txBody>
      <dsp:txXfrm>
        <a:off x="0" y="1413850"/>
        <a:ext cx="2311398" cy="671735"/>
      </dsp:txXfrm>
    </dsp:sp>
    <dsp:sp modelId="{2A704E7E-20AC-4F05-901A-83799570FBB4}">
      <dsp:nvSpPr>
        <dsp:cNvPr id="0" name=""/>
        <dsp:cNvSpPr/>
      </dsp:nvSpPr>
      <dsp:spPr>
        <a:xfrm>
          <a:off x="0" y="2119172"/>
          <a:ext cx="2311398" cy="6717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81280" rIns="81280" bIns="8128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3200" b="1" kern="1200" dirty="0"/>
            <a:t>i</a:t>
          </a:r>
          <a:r>
            <a:rPr lang="es-419" sz="2800" kern="1200" dirty="0"/>
            <a:t>.mx-ns.mx</a:t>
          </a:r>
          <a:endParaRPr lang="en-US" sz="2800" kern="1200" dirty="0"/>
        </a:p>
      </dsp:txBody>
      <dsp:txXfrm>
        <a:off x="0" y="2119172"/>
        <a:ext cx="2311398" cy="671735"/>
      </dsp:txXfrm>
    </dsp:sp>
    <dsp:sp modelId="{DFF4CBA3-9DD4-4A8D-8594-DF1B2986FB3F}">
      <dsp:nvSpPr>
        <dsp:cNvPr id="0" name=""/>
        <dsp:cNvSpPr/>
      </dsp:nvSpPr>
      <dsp:spPr>
        <a:xfrm>
          <a:off x="0" y="2824494"/>
          <a:ext cx="2311398" cy="6717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81280" rIns="81280" bIns="8128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3200" b="1" kern="1200" dirty="0"/>
            <a:t>c</a:t>
          </a:r>
          <a:r>
            <a:rPr lang="es-419" sz="2800" kern="1200" dirty="0"/>
            <a:t>.mx-ns.mx </a:t>
          </a:r>
          <a:r>
            <a:rPr lang="es-419" sz="1000" kern="1200" dirty="0"/>
            <a:t>(IPv6)</a:t>
          </a:r>
          <a:endParaRPr lang="en-US" sz="2100" kern="1200" dirty="0"/>
        </a:p>
      </dsp:txBody>
      <dsp:txXfrm>
        <a:off x="0" y="2824494"/>
        <a:ext cx="2311398" cy="671735"/>
      </dsp:txXfrm>
    </dsp:sp>
    <dsp:sp modelId="{CC0051F8-41B0-40A6-9849-3F58AC7703B6}">
      <dsp:nvSpPr>
        <dsp:cNvPr id="0" name=""/>
        <dsp:cNvSpPr/>
      </dsp:nvSpPr>
      <dsp:spPr>
        <a:xfrm>
          <a:off x="0" y="3529816"/>
          <a:ext cx="2311398" cy="67173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81280" rIns="81280" bIns="8128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419" sz="3200" b="1" kern="1200" dirty="0"/>
            <a:t>o</a:t>
          </a:r>
          <a:r>
            <a:rPr lang="es-419" sz="2800" kern="1200" dirty="0"/>
            <a:t>.mx-ns.mx</a:t>
          </a:r>
          <a:endParaRPr lang="en-US" sz="2800" kern="1200" dirty="0"/>
        </a:p>
      </dsp:txBody>
      <dsp:txXfrm>
        <a:off x="0" y="3529816"/>
        <a:ext cx="2311398" cy="67173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DEC5D0-036A-4DDD-BA4C-3264D84E37AB}">
      <dsp:nvSpPr>
        <dsp:cNvPr id="0" name=""/>
        <dsp:cNvSpPr/>
      </dsp:nvSpPr>
      <dsp:spPr>
        <a:xfrm>
          <a:off x="26640" y="490209"/>
          <a:ext cx="2629868" cy="1577921"/>
        </a:xfrm>
        <a:prstGeom prst="rect">
          <a:avLst/>
        </a:prstGeom>
        <a:solidFill>
          <a:srgbClr val="00334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Plan de </a:t>
          </a:r>
          <a:r>
            <a:rPr lang="en-US" sz="2500" kern="1200" dirty="0" err="1"/>
            <a:t>Continuidad</a:t>
          </a:r>
          <a:r>
            <a:rPr lang="en-US" sz="2500" kern="1200" dirty="0"/>
            <a:t> del </a:t>
          </a:r>
          <a:r>
            <a:rPr lang="en-US" sz="2500" kern="1200" dirty="0" err="1"/>
            <a:t>Negocio</a:t>
          </a:r>
          <a:r>
            <a:rPr lang="en-US" sz="2500" kern="1200" dirty="0"/>
            <a:t> (BCP)</a:t>
          </a:r>
          <a:endParaRPr lang="es-MX" sz="2500" kern="1200" dirty="0"/>
        </a:p>
      </dsp:txBody>
      <dsp:txXfrm>
        <a:off x="26640" y="490209"/>
        <a:ext cx="2629868" cy="1577921"/>
      </dsp:txXfrm>
    </dsp:sp>
    <dsp:sp modelId="{555B0186-312E-4A67-BAF8-E2FDC9ED78A9}">
      <dsp:nvSpPr>
        <dsp:cNvPr id="0" name=""/>
        <dsp:cNvSpPr/>
      </dsp:nvSpPr>
      <dsp:spPr>
        <a:xfrm>
          <a:off x="2919495" y="490209"/>
          <a:ext cx="2629868" cy="1577921"/>
        </a:xfrm>
        <a:prstGeom prst="rect">
          <a:avLst/>
        </a:prstGeom>
        <a:solidFill>
          <a:srgbClr val="00334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Continuidad</a:t>
          </a:r>
          <a:r>
            <a:rPr lang="en-US" sz="2500" kern="1200" dirty="0"/>
            <a:t> del </a:t>
          </a:r>
          <a:r>
            <a:rPr lang="en-US" sz="2500" kern="1200" dirty="0" err="1"/>
            <a:t>Servicio</a:t>
          </a:r>
          <a:r>
            <a:rPr lang="en-US" sz="2500" kern="1200" dirty="0"/>
            <a:t> de TI</a:t>
          </a:r>
        </a:p>
      </dsp:txBody>
      <dsp:txXfrm>
        <a:off x="2919495" y="490209"/>
        <a:ext cx="2629868" cy="1577921"/>
      </dsp:txXfrm>
    </dsp:sp>
    <dsp:sp modelId="{5340BE9B-2AF3-44BD-9A4C-0F77FBC0B7B1}">
      <dsp:nvSpPr>
        <dsp:cNvPr id="0" name=""/>
        <dsp:cNvSpPr/>
      </dsp:nvSpPr>
      <dsp:spPr>
        <a:xfrm>
          <a:off x="5785710" y="490209"/>
          <a:ext cx="2629868" cy="1577921"/>
        </a:xfrm>
        <a:prstGeom prst="rect">
          <a:avLst/>
        </a:prstGeom>
        <a:solidFill>
          <a:srgbClr val="00334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2500" kern="1200" dirty="0"/>
            <a:t>Seguridad</a:t>
          </a:r>
        </a:p>
      </dsp:txBody>
      <dsp:txXfrm>
        <a:off x="5785710" y="490209"/>
        <a:ext cx="2629868" cy="1577921"/>
      </dsp:txXfrm>
    </dsp:sp>
    <dsp:sp modelId="{C388BB12-6A6B-465B-B1BF-474DB6920E0E}">
      <dsp:nvSpPr>
        <dsp:cNvPr id="0" name=""/>
        <dsp:cNvSpPr/>
      </dsp:nvSpPr>
      <dsp:spPr>
        <a:xfrm>
          <a:off x="1473068" y="2331117"/>
          <a:ext cx="2629868" cy="1577921"/>
        </a:xfrm>
        <a:prstGeom prst="rect">
          <a:avLst/>
        </a:prstGeom>
        <a:solidFill>
          <a:srgbClr val="00334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Administración</a:t>
          </a:r>
          <a:r>
            <a:rPr lang="en-US" sz="2500" kern="1200" dirty="0"/>
            <a:t> de la </a:t>
          </a:r>
          <a:r>
            <a:rPr lang="en-US" sz="2500" kern="1200" dirty="0" err="1"/>
            <a:t>capacidad</a:t>
          </a:r>
          <a:endParaRPr lang="es-MX" sz="2500" kern="1200" dirty="0"/>
        </a:p>
      </dsp:txBody>
      <dsp:txXfrm>
        <a:off x="1473068" y="2331117"/>
        <a:ext cx="2629868" cy="1577921"/>
      </dsp:txXfrm>
    </dsp:sp>
    <dsp:sp modelId="{7DF38CB3-1888-4704-ADFF-7CF137429912}">
      <dsp:nvSpPr>
        <dsp:cNvPr id="0" name=""/>
        <dsp:cNvSpPr/>
      </dsp:nvSpPr>
      <dsp:spPr>
        <a:xfrm>
          <a:off x="4339282" y="2340001"/>
          <a:ext cx="2629868" cy="1577921"/>
        </a:xfrm>
        <a:prstGeom prst="rect">
          <a:avLst/>
        </a:prstGeom>
        <a:solidFill>
          <a:srgbClr val="00334B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/>
            <a:t>Administración</a:t>
          </a:r>
          <a:r>
            <a:rPr lang="en-US" sz="2500" kern="1200" dirty="0"/>
            <a:t> del DNS</a:t>
          </a:r>
          <a:endParaRPr lang="es-MX" sz="2500" kern="1200" dirty="0"/>
        </a:p>
      </dsp:txBody>
      <dsp:txXfrm>
        <a:off x="4339282" y="2340001"/>
        <a:ext cx="2629868" cy="157792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6BAE4A-BDEC-4645-99B1-FC1A7FCCC9E9}">
      <dsp:nvSpPr>
        <dsp:cNvPr id="0" name=""/>
        <dsp:cNvSpPr/>
      </dsp:nvSpPr>
      <dsp:spPr>
        <a:xfrm>
          <a:off x="5454" y="1325847"/>
          <a:ext cx="821360" cy="947426"/>
        </a:xfrm>
        <a:prstGeom prst="roundRect">
          <a:avLst>
            <a:gd name="adj" fmla="val 1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 dirty="0">
              <a:latin typeface="Calibri" panose="020F0502020204030204"/>
              <a:ea typeface="+mn-ea"/>
              <a:cs typeface="+mn-cs"/>
            </a:rPr>
            <a:t>Pruebas</a:t>
          </a:r>
          <a:br>
            <a:rPr lang="es-MX" sz="1400" b="1" kern="1200" dirty="0">
              <a:latin typeface="Calibri" panose="020F0502020204030204"/>
              <a:ea typeface="+mn-ea"/>
              <a:cs typeface="+mn-cs"/>
            </a:rPr>
          </a:br>
          <a:r>
            <a:rPr lang="es-MX" sz="1400" b="1" kern="1200" dirty="0">
              <a:latin typeface="Calibri" panose="020F0502020204030204"/>
              <a:ea typeface="+mn-ea"/>
              <a:cs typeface="+mn-cs"/>
            </a:rPr>
            <a:t> BCP</a:t>
          </a:r>
        </a:p>
      </dsp:txBody>
      <dsp:txXfrm>
        <a:off x="29511" y="1349904"/>
        <a:ext cx="773246" cy="899312"/>
      </dsp:txXfrm>
    </dsp:sp>
    <dsp:sp modelId="{C85828FB-C713-4DE8-8BBF-0CCDB63E6FED}">
      <dsp:nvSpPr>
        <dsp:cNvPr id="0" name=""/>
        <dsp:cNvSpPr/>
      </dsp:nvSpPr>
      <dsp:spPr>
        <a:xfrm>
          <a:off x="946499" y="1651151"/>
          <a:ext cx="253731" cy="296818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MX" sz="1200" b="1" kern="1200" dirty="0"/>
        </a:p>
      </dsp:txBody>
      <dsp:txXfrm>
        <a:off x="946499" y="1710515"/>
        <a:ext cx="177612" cy="178090"/>
      </dsp:txXfrm>
    </dsp:sp>
    <dsp:sp modelId="{DB45B3FE-18AC-4197-85D3-C2B24345A404}">
      <dsp:nvSpPr>
        <dsp:cNvPr id="0" name=""/>
        <dsp:cNvSpPr/>
      </dsp:nvSpPr>
      <dsp:spPr>
        <a:xfrm>
          <a:off x="1305554" y="1325847"/>
          <a:ext cx="1196847" cy="947426"/>
        </a:xfrm>
        <a:prstGeom prst="roundRect">
          <a:avLst>
            <a:gd name="adj" fmla="val 1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 dirty="0">
              <a:latin typeface="Calibri" panose="020F0502020204030204"/>
              <a:ea typeface="+mn-ea"/>
              <a:cs typeface="+mn-cs"/>
            </a:rPr>
            <a:t>Preventivos antes de la Contingencia</a:t>
          </a:r>
        </a:p>
      </dsp:txBody>
      <dsp:txXfrm>
        <a:off x="1333303" y="1353596"/>
        <a:ext cx="1141349" cy="891928"/>
      </dsp:txXfrm>
    </dsp:sp>
    <dsp:sp modelId="{FBC4CDEF-C906-4C6E-98F2-3DDB45C44ADA}">
      <dsp:nvSpPr>
        <dsp:cNvPr id="0" name=""/>
        <dsp:cNvSpPr/>
      </dsp:nvSpPr>
      <dsp:spPr>
        <a:xfrm>
          <a:off x="2622085" y="1651151"/>
          <a:ext cx="253731" cy="296818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MX" sz="1200" b="1" kern="1200"/>
        </a:p>
      </dsp:txBody>
      <dsp:txXfrm>
        <a:off x="2622085" y="1710515"/>
        <a:ext cx="177612" cy="178090"/>
      </dsp:txXfrm>
    </dsp:sp>
    <dsp:sp modelId="{D976DA62-D79F-4A29-A1B3-E2EB2E165BE8}">
      <dsp:nvSpPr>
        <dsp:cNvPr id="0" name=""/>
        <dsp:cNvSpPr/>
      </dsp:nvSpPr>
      <dsp:spPr>
        <a:xfrm>
          <a:off x="2981139" y="1325847"/>
          <a:ext cx="1400502" cy="947426"/>
        </a:xfrm>
        <a:prstGeom prst="roundRect">
          <a:avLst>
            <a:gd name="adj" fmla="val 1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 dirty="0">
              <a:latin typeface="Calibri" panose="020F0502020204030204"/>
              <a:ea typeface="+mn-ea"/>
              <a:cs typeface="+mn-cs"/>
            </a:rPr>
            <a:t>Procedimiento de Emergencia</a:t>
          </a:r>
        </a:p>
      </dsp:txBody>
      <dsp:txXfrm>
        <a:off x="3008888" y="1353596"/>
        <a:ext cx="1345004" cy="891928"/>
      </dsp:txXfrm>
    </dsp:sp>
    <dsp:sp modelId="{BB584697-75F9-45CE-B745-FFB15B5B71B7}">
      <dsp:nvSpPr>
        <dsp:cNvPr id="0" name=""/>
        <dsp:cNvSpPr/>
      </dsp:nvSpPr>
      <dsp:spPr>
        <a:xfrm>
          <a:off x="4501327" y="1651151"/>
          <a:ext cx="253731" cy="296818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MX" sz="1200" b="1" kern="1200" dirty="0"/>
        </a:p>
      </dsp:txBody>
      <dsp:txXfrm>
        <a:off x="4501327" y="1710515"/>
        <a:ext cx="177612" cy="178090"/>
      </dsp:txXfrm>
    </dsp:sp>
    <dsp:sp modelId="{9DCDABB7-2251-421E-BD60-2EC167B820E9}">
      <dsp:nvSpPr>
        <dsp:cNvPr id="0" name=""/>
        <dsp:cNvSpPr/>
      </dsp:nvSpPr>
      <dsp:spPr>
        <a:xfrm>
          <a:off x="4860381" y="1325847"/>
          <a:ext cx="1196847" cy="947426"/>
        </a:xfrm>
        <a:prstGeom prst="roundRect">
          <a:avLst>
            <a:gd name="adj" fmla="val 1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 dirty="0">
              <a:latin typeface="Calibri" panose="020F0502020204030204"/>
              <a:ea typeface="+mn-ea"/>
              <a:cs typeface="+mn-cs"/>
            </a:rPr>
            <a:t>Recuperación durante la Contingencia (</a:t>
          </a:r>
          <a:r>
            <a:rPr lang="es-MX" sz="1400" b="1" kern="1200" dirty="0" err="1">
              <a:latin typeface="Calibri" panose="020F0502020204030204"/>
              <a:ea typeface="+mn-ea"/>
              <a:cs typeface="+mn-cs"/>
            </a:rPr>
            <a:t>DRP</a:t>
          </a:r>
          <a:r>
            <a:rPr lang="es-MX" sz="1400" b="1" kern="1200" dirty="0">
              <a:latin typeface="Calibri" panose="020F0502020204030204"/>
              <a:ea typeface="+mn-ea"/>
              <a:cs typeface="+mn-cs"/>
            </a:rPr>
            <a:t>)</a:t>
          </a:r>
        </a:p>
      </dsp:txBody>
      <dsp:txXfrm>
        <a:off x="4888130" y="1353596"/>
        <a:ext cx="1141349" cy="891928"/>
      </dsp:txXfrm>
    </dsp:sp>
    <dsp:sp modelId="{C667FD9B-DBAF-42E1-9819-93C3288325D4}">
      <dsp:nvSpPr>
        <dsp:cNvPr id="0" name=""/>
        <dsp:cNvSpPr/>
      </dsp:nvSpPr>
      <dsp:spPr>
        <a:xfrm>
          <a:off x="6176913" y="1651151"/>
          <a:ext cx="253731" cy="296818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MX" sz="1200" b="1" kern="1200" dirty="0"/>
        </a:p>
      </dsp:txBody>
      <dsp:txXfrm>
        <a:off x="6176913" y="1710515"/>
        <a:ext cx="177612" cy="178090"/>
      </dsp:txXfrm>
    </dsp:sp>
    <dsp:sp modelId="{B0B53299-929D-450B-90CF-1E5EF4BF45F5}">
      <dsp:nvSpPr>
        <dsp:cNvPr id="0" name=""/>
        <dsp:cNvSpPr/>
      </dsp:nvSpPr>
      <dsp:spPr>
        <a:xfrm>
          <a:off x="6535967" y="1325847"/>
          <a:ext cx="1196847" cy="947426"/>
        </a:xfrm>
        <a:prstGeom prst="roundRect">
          <a:avLst>
            <a:gd name="adj" fmla="val 1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>
              <a:latin typeface="Calibri" panose="020F0502020204030204"/>
              <a:ea typeface="+mn-ea"/>
              <a:cs typeface="+mn-cs"/>
            </a:rPr>
            <a:t>Respuesta de Operación TIC</a:t>
          </a:r>
          <a:endParaRPr lang="es-MX" sz="1400" b="1" kern="1200" dirty="0">
            <a:latin typeface="Calibri" panose="020F0502020204030204"/>
            <a:ea typeface="+mn-ea"/>
            <a:cs typeface="+mn-cs"/>
          </a:endParaRPr>
        </a:p>
      </dsp:txBody>
      <dsp:txXfrm>
        <a:off x="6563716" y="1353596"/>
        <a:ext cx="1141349" cy="891928"/>
      </dsp:txXfrm>
    </dsp:sp>
    <dsp:sp modelId="{E23630FE-6185-4FDA-901F-3851E8646C44}">
      <dsp:nvSpPr>
        <dsp:cNvPr id="0" name=""/>
        <dsp:cNvSpPr/>
      </dsp:nvSpPr>
      <dsp:spPr>
        <a:xfrm>
          <a:off x="7852498" y="1651151"/>
          <a:ext cx="253731" cy="296818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MX" sz="1200" b="1" kern="1200"/>
        </a:p>
      </dsp:txBody>
      <dsp:txXfrm>
        <a:off x="7852498" y="1710515"/>
        <a:ext cx="177612" cy="178090"/>
      </dsp:txXfrm>
    </dsp:sp>
    <dsp:sp modelId="{EC7115ED-1945-4A15-B98D-9393B227DD59}">
      <dsp:nvSpPr>
        <dsp:cNvPr id="0" name=""/>
        <dsp:cNvSpPr/>
      </dsp:nvSpPr>
      <dsp:spPr>
        <a:xfrm>
          <a:off x="8211553" y="1325847"/>
          <a:ext cx="1196847" cy="947426"/>
        </a:xfrm>
        <a:prstGeom prst="roundRect">
          <a:avLst>
            <a:gd name="adj" fmla="val 1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 dirty="0">
              <a:latin typeface="Calibri" panose="020F0502020204030204"/>
              <a:ea typeface="+mn-ea"/>
              <a:cs typeface="+mn-cs"/>
            </a:rPr>
            <a:t>Preventivos Después de la Contingencia</a:t>
          </a:r>
        </a:p>
      </dsp:txBody>
      <dsp:txXfrm>
        <a:off x="8239302" y="1353596"/>
        <a:ext cx="1141349" cy="891928"/>
      </dsp:txXfrm>
    </dsp:sp>
    <dsp:sp modelId="{919CCDCA-EF6E-48EF-8E0B-13BE0E19EDDE}">
      <dsp:nvSpPr>
        <dsp:cNvPr id="0" name=""/>
        <dsp:cNvSpPr/>
      </dsp:nvSpPr>
      <dsp:spPr>
        <a:xfrm>
          <a:off x="9528084" y="1651151"/>
          <a:ext cx="253731" cy="296818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MX" sz="1200" b="1" kern="1200" dirty="0"/>
        </a:p>
      </dsp:txBody>
      <dsp:txXfrm>
        <a:off x="9528084" y="1710515"/>
        <a:ext cx="177612" cy="178090"/>
      </dsp:txXfrm>
    </dsp:sp>
    <dsp:sp modelId="{31339271-283D-4212-ABD2-0E1A53B30A25}">
      <dsp:nvSpPr>
        <dsp:cNvPr id="0" name=""/>
        <dsp:cNvSpPr/>
      </dsp:nvSpPr>
      <dsp:spPr>
        <a:xfrm>
          <a:off x="9887138" y="1325847"/>
          <a:ext cx="1196847" cy="947426"/>
        </a:xfrm>
        <a:prstGeom prst="roundRect">
          <a:avLst>
            <a:gd name="adj" fmla="val 10000"/>
          </a:avLst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1400" b="1" kern="1200" dirty="0">
              <a:latin typeface="Calibri" panose="020F0502020204030204"/>
              <a:ea typeface="+mn-ea"/>
              <a:cs typeface="+mn-cs"/>
            </a:rPr>
            <a:t>Preparación para el Retorno a la Normalidad</a:t>
          </a:r>
        </a:p>
      </dsp:txBody>
      <dsp:txXfrm>
        <a:off x="9914887" y="1353596"/>
        <a:ext cx="1141349" cy="8919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diagrams.loki3.com/VaryingWidthList">
  <dgm:title val="Varying Width List"/>
  <dgm:desc val="Use for emphasizing items of different weights.  Good for large amounts of Level 1 text.  The width of each shape is independently determined based on its text."/>
  <dgm:catLst>
    <dgm:cat type="list" pri="4160"/>
    <dgm:cat type="officeonline" pri="5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text" val="20"/>
      <dgm:constr type="h" for="ch" forName="text" refType="h"/>
      <dgm:constr type="primFontSz" for="ch" forName="text" op="equ" val="65"/>
      <dgm:constr type="h" for="ch" forName="space" refType="h" fact="0.05"/>
    </dgm:constrLst>
    <dgm:forEach name="Name1" axis="ch" ptType="node">
      <dgm:layoutNode name="text" styleLbl="node1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tMarg" refType="primFontSz" fact="0.2"/>
          <dgm:constr type="bMarg" refType="primFontSz" fact="0.2"/>
          <dgm:constr type="lMarg" refType="primFontSz" fact="0.2"/>
          <dgm:constr type="rMarg" refType="primFontSz" fact="0.2"/>
        </dgm:constrLst>
        <dgm:ruleLst>
          <dgm:rule type="w" val="INF" fact="NaN" max="NaN"/>
          <dgm:rule type="primFontSz" val="5" fact="NaN" max="NaN"/>
        </dgm:ruleLst>
      </dgm:layoutNode>
      <dgm:choose name="Name2">
        <dgm:if name="Name3" axis="par ch" ptType="doc node" func="cnt" op="gte" val="2">
          <dgm:forEach name="Name4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if>
        <dgm:else name="Name5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F918DD-FB38-45D2-8F29-227053CC1B76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C63A26-4073-42C9-8C22-C51FA1206BCE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76522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0962" y="6021059"/>
            <a:ext cx="1601037" cy="8395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1369" y="141569"/>
            <a:ext cx="10972801" cy="4914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b="1" i="0">
                <a:solidFill>
                  <a:srgbClr val="003249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85326" y="741235"/>
            <a:ext cx="11632019" cy="0"/>
          </a:xfrm>
          <a:prstGeom prst="line">
            <a:avLst/>
          </a:prstGeom>
          <a:ln w="34925">
            <a:solidFill>
              <a:srgbClr val="479DD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ángulo 5">
            <a:extLst>
              <a:ext uri="{FF2B5EF4-FFF2-40B4-BE49-F238E27FC236}">
                <a16:creationId xmlns:a16="http://schemas.microsoft.com/office/drawing/2014/main" id="{62EB7D4F-D145-504A-AB74-269898C22D14}"/>
              </a:ext>
            </a:extLst>
          </p:cNvPr>
          <p:cNvSpPr/>
          <p:nvPr userDrawn="1"/>
        </p:nvSpPr>
        <p:spPr>
          <a:xfrm>
            <a:off x="0" y="0"/>
            <a:ext cx="828339" cy="6858000"/>
          </a:xfrm>
          <a:prstGeom prst="rect">
            <a:avLst/>
          </a:prstGeom>
          <a:gradFill flip="none" rotWithShape="1">
            <a:gsLst>
              <a:gs pos="0">
                <a:srgbClr val="081D2F"/>
              </a:gs>
              <a:gs pos="100000">
                <a:srgbClr val="20517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54839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01240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44227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3_Title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"/>
          <p:cNvSpPr txBox="1">
            <a:spLocks noGrp="1"/>
          </p:cNvSpPr>
          <p:nvPr>
            <p:ph type="title"/>
          </p:nvPr>
        </p:nvSpPr>
        <p:spPr>
          <a:xfrm>
            <a:off x="255181" y="242053"/>
            <a:ext cx="10515600" cy="623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3600"/>
              <a:buFont typeface="Calibri"/>
              <a:buNone/>
              <a:defRPr sz="3600" b="1" i="0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7" name="Google Shape;27;p4"/>
          <p:cNvCxnSpPr/>
          <p:nvPr/>
        </p:nvCxnSpPr>
        <p:spPr>
          <a:xfrm>
            <a:off x="255181" y="992444"/>
            <a:ext cx="11632019" cy="0"/>
          </a:xfrm>
          <a:prstGeom prst="straightConnector1">
            <a:avLst/>
          </a:prstGeom>
          <a:noFill/>
          <a:ln w="349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0230420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DEBF4D7B-2596-49C2-984B-1345E59BE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DEBF4D7B-2596-49C2-984B-1345E59BE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EB17071E-16E6-493C-8319-E4A51CCD4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3" name="Picture 12" descr="A group of people in a room&#10;&#10;Description generated with very high confidence">
            <a:extLst>
              <a:ext uri="{FF2B5EF4-FFF2-40B4-BE49-F238E27FC236}">
                <a16:creationId xmlns:a16="http://schemas.microsoft.com/office/drawing/2014/main" id="{9911267F-A4C7-4413-B8CB-2E83BD2083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descr="A group of people in a room&#10;&#10;Description generated with very high confidence">
            <a:extLst>
              <a:ext uri="{FF2B5EF4-FFF2-40B4-BE49-F238E27FC236}">
                <a16:creationId xmlns:a16="http://schemas.microsoft.com/office/drawing/2014/main" id="{47A922C2-8FAD-47B3-8511-3BB087FD1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757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12">
            <a:extLst>
              <a:ext uri="{FF2B5EF4-FFF2-40B4-BE49-F238E27FC236}">
                <a16:creationId xmlns:a16="http://schemas.microsoft.com/office/drawing/2014/main" id="{8368CCE1-AD0E-C14B-8D2A-78DF72C42C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70274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0629" y="128248"/>
            <a:ext cx="10757200" cy="559323"/>
          </a:xfrm>
        </p:spPr>
        <p:txBody>
          <a:bodyPr>
            <a:noAutofit/>
          </a:bodyPr>
          <a:lstStyle>
            <a:lvl1pPr>
              <a:defRPr sz="3600" b="1">
                <a:solidFill>
                  <a:srgbClr val="003249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4651" y="1313159"/>
            <a:ext cx="8812404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4351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960493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46848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12">
            <a:extLst>
              <a:ext uri="{FF2B5EF4-FFF2-40B4-BE49-F238E27FC236}">
                <a16:creationId xmlns:a16="http://schemas.microsoft.com/office/drawing/2014/main" id="{8368CCE1-AD0E-C14B-8D2A-78DF72C42C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1650" y="113918"/>
            <a:ext cx="10706275" cy="639708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00334B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97070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0962" y="6021059"/>
            <a:ext cx="1601037" cy="8395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986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65825" y="113918"/>
            <a:ext cx="11372100" cy="639708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00334B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198752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996501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67496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60F1F7-2811-4B09-A2AD-FB264ED4BB58}" type="datetimeFigureOut">
              <a:rPr lang="es-MX" smtClean="0"/>
              <a:t>04/03/2020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E79274-3A30-436C-A6C1-44DD6C1ACE96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954119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49" r:id="rId2"/>
    <p:sldLayoutId id="2147483650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6" r:id="rId12"/>
    <p:sldLayoutId id="214748368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registry.mx/jsf/domain_statistics/monthly/info.jsf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18" Type="http://schemas.openxmlformats.org/officeDocument/2006/relationships/diagramColors" Target="../diagrams/colors3.xml"/><Relationship Id="rId26" Type="http://schemas.openxmlformats.org/officeDocument/2006/relationships/diagramLayout" Target="../diagrams/layout5.xml"/><Relationship Id="rId3" Type="http://schemas.openxmlformats.org/officeDocument/2006/relationships/image" Target="../media/image16.png"/><Relationship Id="rId21" Type="http://schemas.openxmlformats.org/officeDocument/2006/relationships/diagramLayout" Target="../diagrams/layout4.xml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17" Type="http://schemas.openxmlformats.org/officeDocument/2006/relationships/diagramQuickStyle" Target="../diagrams/quickStyle3.xml"/><Relationship Id="rId25" Type="http://schemas.openxmlformats.org/officeDocument/2006/relationships/diagramData" Target="../diagrams/data5.xml"/><Relationship Id="rId2" Type="http://schemas.openxmlformats.org/officeDocument/2006/relationships/image" Target="../media/image15.jpeg"/><Relationship Id="rId16" Type="http://schemas.openxmlformats.org/officeDocument/2006/relationships/diagramLayout" Target="../diagrams/layout3.xml"/><Relationship Id="rId20" Type="http://schemas.openxmlformats.org/officeDocument/2006/relationships/diagramData" Target="../diagrams/data4.xml"/><Relationship Id="rId29" Type="http://schemas.microsoft.com/office/2007/relationships/diagramDrawing" Target="../diagrams/drawing5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24" Type="http://schemas.microsoft.com/office/2007/relationships/diagramDrawing" Target="../diagrams/drawing4.xml"/><Relationship Id="rId5" Type="http://schemas.openxmlformats.org/officeDocument/2006/relationships/diagramData" Target="../diagrams/data1.xml"/><Relationship Id="rId15" Type="http://schemas.openxmlformats.org/officeDocument/2006/relationships/diagramData" Target="../diagrams/data3.xml"/><Relationship Id="rId23" Type="http://schemas.openxmlformats.org/officeDocument/2006/relationships/diagramColors" Target="../diagrams/colors4.xml"/><Relationship Id="rId28" Type="http://schemas.openxmlformats.org/officeDocument/2006/relationships/diagramColors" Target="../diagrams/colors5.xml"/><Relationship Id="rId10" Type="http://schemas.openxmlformats.org/officeDocument/2006/relationships/diagramData" Target="../diagrams/data2.xml"/><Relationship Id="rId19" Type="http://schemas.microsoft.com/office/2007/relationships/diagramDrawing" Target="../diagrams/drawing3.xml"/><Relationship Id="rId31" Type="http://schemas.openxmlformats.org/officeDocument/2006/relationships/image" Target="../media/image19.png"/><Relationship Id="rId4" Type="http://schemas.openxmlformats.org/officeDocument/2006/relationships/image" Target="../media/image17.png"/><Relationship Id="rId9" Type="http://schemas.microsoft.com/office/2007/relationships/diagramDrawing" Target="../diagrams/drawing1.xml"/><Relationship Id="rId14" Type="http://schemas.microsoft.com/office/2007/relationships/diagramDrawing" Target="../diagrams/drawing2.xml"/><Relationship Id="rId22" Type="http://schemas.openxmlformats.org/officeDocument/2006/relationships/diagramQuickStyle" Target="../diagrams/quickStyle4.xml"/><Relationship Id="rId27" Type="http://schemas.openxmlformats.org/officeDocument/2006/relationships/diagramQuickStyle" Target="../diagrams/quickStyle5.xml"/><Relationship Id="rId30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BF5020-40D6-43CF-BE99-7255DB9ABD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IC México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B7639C-56CC-4514-BF6B-3F30F564551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s-419" sz="3200" b="1" dirty="0"/>
              <a:t>Reto tecnológico del crecimiento en Internet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3176086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err="1">
                <a:latin typeface="Arial Black"/>
              </a:rPr>
              <a:t>AnyCast</a:t>
            </a:r>
            <a:r>
              <a:rPr lang="es-MX" dirty="0">
                <a:latin typeface="Arial Black"/>
              </a:rPr>
              <a:t> MX: Ubicació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AAA483-F123-4907-A00D-7F0716A4199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981" y="2264027"/>
            <a:ext cx="8502398" cy="407783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701B1EC-41B8-403C-863E-074117E961FD}"/>
              </a:ext>
            </a:extLst>
          </p:cNvPr>
          <p:cNvSpPr/>
          <p:nvPr/>
        </p:nvSpPr>
        <p:spPr>
          <a:xfrm>
            <a:off x="1867536" y="1063816"/>
            <a:ext cx="936602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Nunito"/>
                <a:ea typeface="+mn-ea"/>
                <a:cs typeface="+mn-cs"/>
              </a:rPr>
              <a:t>Múltiples ubicaciones que reciben consultas a la red. El objetivo es localizar la ruta más corta para un usuario a un servidor DNS particular.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652B585-416C-4E1A-9A92-A54A8EAD9E5B}"/>
              </a:ext>
            </a:extLst>
          </p:cNvPr>
          <p:cNvSpPr/>
          <p:nvPr/>
        </p:nvSpPr>
        <p:spPr>
          <a:xfrm>
            <a:off x="10422650" y="3249738"/>
            <a:ext cx="124990" cy="13814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9776A5F-EE93-45ED-932A-505572A9D084}"/>
              </a:ext>
            </a:extLst>
          </p:cNvPr>
          <p:cNvSpPr/>
          <p:nvPr/>
        </p:nvSpPr>
        <p:spPr>
          <a:xfrm>
            <a:off x="10432517" y="3578713"/>
            <a:ext cx="124990" cy="138146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E9193FC-DBA6-4807-86A1-D821335BADB1}"/>
              </a:ext>
            </a:extLst>
          </p:cNvPr>
          <p:cNvSpPr/>
          <p:nvPr/>
        </p:nvSpPr>
        <p:spPr>
          <a:xfrm>
            <a:off x="10422656" y="3903126"/>
            <a:ext cx="124990" cy="13814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CFFE2F-EFE8-4501-B4C6-9D37973F9826}"/>
              </a:ext>
            </a:extLst>
          </p:cNvPr>
          <p:cNvSpPr/>
          <p:nvPr/>
        </p:nvSpPr>
        <p:spPr>
          <a:xfrm>
            <a:off x="10652288" y="3178427"/>
            <a:ext cx="153971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100" b="1" dirty="0">
                <a:solidFill>
                  <a:srgbClr val="333333"/>
                </a:solidFill>
                <a:latin typeface="Nunito"/>
              </a:rPr>
              <a:t>I</a:t>
            </a:r>
            <a:r>
              <a:rPr lang="es-ES" sz="1100" dirty="0">
                <a:solidFill>
                  <a:srgbClr val="333333"/>
                </a:solidFill>
                <a:latin typeface="Nunito"/>
              </a:rPr>
              <a:t>nfraestructura propia</a:t>
            </a:r>
          </a:p>
          <a:p>
            <a:endParaRPr lang="es-ES" sz="1100" dirty="0">
              <a:solidFill>
                <a:srgbClr val="333333"/>
              </a:solidFill>
              <a:latin typeface="Nunito"/>
            </a:endParaRPr>
          </a:p>
          <a:p>
            <a:r>
              <a:rPr lang="es-ES" sz="1100" b="1" dirty="0">
                <a:solidFill>
                  <a:srgbClr val="333333"/>
                </a:solidFill>
                <a:latin typeface="Nunito"/>
              </a:rPr>
              <a:t>P</a:t>
            </a:r>
            <a:r>
              <a:rPr lang="es-ES" sz="1100" dirty="0">
                <a:solidFill>
                  <a:srgbClr val="333333"/>
                </a:solidFill>
                <a:latin typeface="Nunito"/>
              </a:rPr>
              <a:t>rotección ante </a:t>
            </a:r>
            <a:r>
              <a:rPr lang="es-ES" sz="1100" dirty="0" err="1">
                <a:solidFill>
                  <a:srgbClr val="333333"/>
                </a:solidFill>
                <a:latin typeface="Nunito"/>
              </a:rPr>
              <a:t>DDoS</a:t>
            </a:r>
            <a:endParaRPr lang="es-ES" sz="1100" dirty="0">
              <a:solidFill>
                <a:srgbClr val="333333"/>
              </a:solidFill>
              <a:latin typeface="Nunito"/>
            </a:endParaRPr>
          </a:p>
          <a:p>
            <a:endParaRPr lang="es-ES" sz="1100" dirty="0">
              <a:solidFill>
                <a:srgbClr val="333333"/>
              </a:solidFill>
              <a:latin typeface="Nunito"/>
            </a:endParaRPr>
          </a:p>
          <a:p>
            <a:r>
              <a:rPr lang="es-ES" sz="1100" b="1" dirty="0">
                <a:solidFill>
                  <a:srgbClr val="333333"/>
                </a:solidFill>
                <a:latin typeface="Nunito"/>
              </a:rPr>
              <a:t>C</a:t>
            </a:r>
            <a:r>
              <a:rPr lang="es-ES" sz="1100" dirty="0">
                <a:solidFill>
                  <a:srgbClr val="333333"/>
                </a:solidFill>
                <a:latin typeface="Nunito"/>
              </a:rPr>
              <a:t>obertura global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5864019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¿Por qué </a:t>
            </a:r>
            <a:r>
              <a:rPr lang="es-MX" dirty="0" err="1">
                <a:latin typeface="Arial Black"/>
              </a:rPr>
              <a:t>Anycast</a:t>
            </a:r>
            <a:r>
              <a:rPr lang="es-MX" dirty="0">
                <a:latin typeface="Arial Black"/>
              </a:rPr>
              <a:t>?</a:t>
            </a:r>
            <a:endParaRPr lang="en-US" dirty="0"/>
          </a:p>
        </p:txBody>
      </p:sp>
      <p:graphicFrame>
        <p:nvGraphicFramePr>
          <p:cNvPr id="3" name="Text Placeholder 2">
            <a:extLst>
              <a:ext uri="{FF2B5EF4-FFF2-40B4-BE49-F238E27FC236}">
                <a16:creationId xmlns:a16="http://schemas.microsoft.com/office/drawing/2014/main" id="{48861832-2CF4-4CB0-AA37-F8C2F58EB7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2039389"/>
              </p:ext>
            </p:extLst>
          </p:nvPr>
        </p:nvGraphicFramePr>
        <p:xfrm>
          <a:off x="1340618" y="1097570"/>
          <a:ext cx="10333870" cy="52621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660695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Infraestructura DNS</a:t>
            </a:r>
            <a:endParaRPr lang="en-US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6AE7C2C9-4898-4BF4-93E4-745FA4B48993}"/>
              </a:ext>
            </a:extLst>
          </p:cNvPr>
          <p:cNvSpPr/>
          <p:nvPr/>
        </p:nvSpPr>
        <p:spPr>
          <a:xfrm>
            <a:off x="1679603" y="2208035"/>
            <a:ext cx="2857500" cy="100012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2000" b="1" dirty="0"/>
              <a:t>Infraestructura propia</a:t>
            </a:r>
            <a:endParaRPr lang="en-US" sz="2000" b="1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ADF07B0-CB8B-4175-A515-CC06FC703E27}"/>
              </a:ext>
            </a:extLst>
          </p:cNvPr>
          <p:cNvSpPr/>
          <p:nvPr/>
        </p:nvSpPr>
        <p:spPr>
          <a:xfrm>
            <a:off x="1679603" y="3423941"/>
            <a:ext cx="2857500" cy="100012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2000" b="1" dirty="0"/>
              <a:t>Infraestructura “colaborativa”</a:t>
            </a:r>
            <a:endParaRPr lang="en-US" sz="2000" b="1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CF758B7-41B0-443C-BFE4-B350CC20826B}"/>
              </a:ext>
            </a:extLst>
          </p:cNvPr>
          <p:cNvSpPr/>
          <p:nvPr/>
        </p:nvSpPr>
        <p:spPr>
          <a:xfrm>
            <a:off x="1722588" y="4658372"/>
            <a:ext cx="2857500" cy="100012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419" sz="2000" b="1" dirty="0"/>
              <a:t>Servicio protección </a:t>
            </a:r>
            <a:r>
              <a:rPr lang="es-419" sz="2000" b="1" dirty="0" err="1"/>
              <a:t>DDoS</a:t>
            </a:r>
            <a:endParaRPr lang="en-US" sz="2000" b="1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1215E49C-C219-40BD-8677-822179A603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2642556"/>
              </p:ext>
            </p:extLst>
          </p:nvPr>
        </p:nvGraphicFramePr>
        <p:xfrm>
          <a:off x="8495232" y="1689408"/>
          <a:ext cx="2311398" cy="42047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Arrow: Right 1">
            <a:extLst>
              <a:ext uri="{FF2B5EF4-FFF2-40B4-BE49-F238E27FC236}">
                <a16:creationId xmlns:a16="http://schemas.microsoft.com/office/drawing/2014/main" id="{F595D343-D229-49CE-BE91-B707EE0BADD2}"/>
              </a:ext>
            </a:extLst>
          </p:cNvPr>
          <p:cNvSpPr/>
          <p:nvPr/>
        </p:nvSpPr>
        <p:spPr>
          <a:xfrm>
            <a:off x="5571241" y="3267616"/>
            <a:ext cx="2196446" cy="12066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err="1"/>
              <a:t>Servicio</a:t>
            </a:r>
            <a:r>
              <a:rPr lang="en-US" sz="2400" b="1" dirty="0"/>
              <a:t> DNS</a:t>
            </a:r>
          </a:p>
        </p:txBody>
      </p:sp>
    </p:spTree>
    <p:extLst>
      <p:ext uri="{BB962C8B-B14F-4D97-AF65-F5344CB8AC3E}">
        <p14:creationId xmlns:p14="http://schemas.microsoft.com/office/powerpoint/2010/main" val="1288316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Ingenieria de Tráfico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E67C72-59B2-4015-BEDD-FED95A57346C}"/>
              </a:ext>
            </a:extLst>
          </p:cNvPr>
          <p:cNvSpPr txBox="1"/>
          <p:nvPr/>
        </p:nvSpPr>
        <p:spPr>
          <a:xfrm>
            <a:off x="1406042" y="1127912"/>
            <a:ext cx="9686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419" dirty="0"/>
              <a:t>Se busca mantener encendidas ciertas entidades por nodo para permitir a un origen de consulta tener la posibilidad de tener al menos dos ubicaciones diferentes</a:t>
            </a:r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30A162D-8954-453A-ACC3-58C5E15477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346865"/>
              </p:ext>
            </p:extLst>
          </p:nvPr>
        </p:nvGraphicFramePr>
        <p:xfrm>
          <a:off x="2686930" y="2269109"/>
          <a:ext cx="7526211" cy="3169770"/>
        </p:xfrm>
        <a:graphic>
          <a:graphicData uri="http://schemas.openxmlformats.org/drawingml/2006/table">
            <a:tbl>
              <a:tblPr/>
              <a:tblGrid>
                <a:gridCol w="1772529">
                  <a:extLst>
                    <a:ext uri="{9D8B030D-6E8A-4147-A177-3AD203B41FA5}">
                      <a16:colId xmlns:a16="http://schemas.microsoft.com/office/drawing/2014/main" val="2312851007"/>
                    </a:ext>
                  </a:extLst>
                </a:gridCol>
                <a:gridCol w="651167">
                  <a:extLst>
                    <a:ext uri="{9D8B030D-6E8A-4147-A177-3AD203B41FA5}">
                      <a16:colId xmlns:a16="http://schemas.microsoft.com/office/drawing/2014/main" val="871473972"/>
                    </a:ext>
                  </a:extLst>
                </a:gridCol>
                <a:gridCol w="1020503">
                  <a:extLst>
                    <a:ext uri="{9D8B030D-6E8A-4147-A177-3AD203B41FA5}">
                      <a16:colId xmlns:a16="http://schemas.microsoft.com/office/drawing/2014/main" val="2473182608"/>
                    </a:ext>
                  </a:extLst>
                </a:gridCol>
                <a:gridCol w="1020503">
                  <a:extLst>
                    <a:ext uri="{9D8B030D-6E8A-4147-A177-3AD203B41FA5}">
                      <a16:colId xmlns:a16="http://schemas.microsoft.com/office/drawing/2014/main" val="3795788086"/>
                    </a:ext>
                  </a:extLst>
                </a:gridCol>
                <a:gridCol w="1020503">
                  <a:extLst>
                    <a:ext uri="{9D8B030D-6E8A-4147-A177-3AD203B41FA5}">
                      <a16:colId xmlns:a16="http://schemas.microsoft.com/office/drawing/2014/main" val="4050265629"/>
                    </a:ext>
                  </a:extLst>
                </a:gridCol>
                <a:gridCol w="1020503">
                  <a:extLst>
                    <a:ext uri="{9D8B030D-6E8A-4147-A177-3AD203B41FA5}">
                      <a16:colId xmlns:a16="http://schemas.microsoft.com/office/drawing/2014/main" val="1804647895"/>
                    </a:ext>
                  </a:extLst>
                </a:gridCol>
                <a:gridCol w="1020503">
                  <a:extLst>
                    <a:ext uri="{9D8B030D-6E8A-4147-A177-3AD203B41FA5}">
                      <a16:colId xmlns:a16="http://schemas.microsoft.com/office/drawing/2014/main" val="3585217047"/>
                    </a:ext>
                  </a:extLst>
                </a:gridCol>
              </a:tblGrid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dos</a:t>
                      </a:r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en-US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idad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24411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errey 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5355623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errey 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2665628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errey 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715030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DMX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812293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ifornia 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82117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ifornia 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171788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le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1183411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xas 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92919"/>
                  </a:ext>
                </a:extLst>
              </a:tr>
              <a:tr h="31697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xas 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88017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3839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Origen de peticiones DNS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1B582C-A289-40F7-B1F5-2B4EEEA19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8051" y="851641"/>
            <a:ext cx="8493110" cy="5864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098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BF5020-40D6-43CF-BE99-7255DB9ABD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Excelencia</a:t>
            </a:r>
            <a:r>
              <a:rPr lang="en-US" dirty="0"/>
              <a:t> </a:t>
            </a:r>
            <a:r>
              <a:rPr lang="en-US" dirty="0" err="1"/>
              <a:t>Operativa</a:t>
            </a:r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72B2753-1FED-4231-BABC-6EA0AE0EEA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436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Excelencia Operativa</a:t>
            </a:r>
            <a:endParaRPr lang="en-US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FD28FBAC-1184-4A4C-97EB-8DE2AE5E4C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35392338"/>
              </p:ext>
            </p:extLst>
          </p:nvPr>
        </p:nvGraphicFramePr>
        <p:xfrm>
          <a:off x="2149979" y="1397105"/>
          <a:ext cx="8415579" cy="4417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362302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Plan de Continuidad de Negocio</a:t>
            </a:r>
            <a:endParaRPr lang="en-US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4DC45D2F-93F0-4789-906E-BC3433A2DE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3400365"/>
              </p:ext>
            </p:extLst>
          </p:nvPr>
        </p:nvGraphicFramePr>
        <p:xfrm>
          <a:off x="949911" y="1807380"/>
          <a:ext cx="11089441" cy="35991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21494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Continuidad del Servicio</a:t>
            </a:r>
            <a:endParaRPr lang="en-US" dirty="0"/>
          </a:p>
        </p:txBody>
      </p:sp>
      <p:sp>
        <p:nvSpPr>
          <p:cNvPr id="3" name="Freeform 10">
            <a:extLst>
              <a:ext uri="{FF2B5EF4-FFF2-40B4-BE49-F238E27FC236}">
                <a16:creationId xmlns:a16="http://schemas.microsoft.com/office/drawing/2014/main" id="{6AB9FAB0-BDF3-4816-B24E-A81AE7BC9204}"/>
              </a:ext>
            </a:extLst>
          </p:cNvPr>
          <p:cNvSpPr>
            <a:spLocks noEditPoints="1"/>
          </p:cNvSpPr>
          <p:nvPr/>
        </p:nvSpPr>
        <p:spPr bwMode="auto">
          <a:xfrm>
            <a:off x="5730675" y="3035967"/>
            <a:ext cx="1480271" cy="1352896"/>
          </a:xfrm>
          <a:custGeom>
            <a:avLst/>
            <a:gdLst>
              <a:gd name="T0" fmla="*/ 379 w 399"/>
              <a:gd name="T1" fmla="*/ 124 h 379"/>
              <a:gd name="T2" fmla="*/ 222 w 399"/>
              <a:gd name="T3" fmla="*/ 10 h 379"/>
              <a:gd name="T4" fmla="*/ 176 w 399"/>
              <a:gd name="T5" fmla="*/ 10 h 379"/>
              <a:gd name="T6" fmla="*/ 19 w 399"/>
              <a:gd name="T7" fmla="*/ 124 h 379"/>
              <a:gd name="T8" fmla="*/ 5 w 399"/>
              <a:gd name="T9" fmla="*/ 168 h 379"/>
              <a:gd name="T10" fmla="*/ 65 w 399"/>
              <a:gd name="T11" fmla="*/ 353 h 379"/>
              <a:gd name="T12" fmla="*/ 102 w 399"/>
              <a:gd name="T13" fmla="*/ 379 h 379"/>
              <a:gd name="T14" fmla="*/ 296 w 399"/>
              <a:gd name="T15" fmla="*/ 379 h 379"/>
              <a:gd name="T16" fmla="*/ 333 w 399"/>
              <a:gd name="T17" fmla="*/ 353 h 379"/>
              <a:gd name="T18" fmla="*/ 393 w 399"/>
              <a:gd name="T19" fmla="*/ 168 h 379"/>
              <a:gd name="T20" fmla="*/ 379 w 399"/>
              <a:gd name="T21" fmla="*/ 124 h 379"/>
              <a:gd name="T22" fmla="*/ 334 w 399"/>
              <a:gd name="T23" fmla="*/ 175 h 379"/>
              <a:gd name="T24" fmla="*/ 293 w 399"/>
              <a:gd name="T25" fmla="*/ 304 h 379"/>
              <a:gd name="T26" fmla="*/ 267 w 399"/>
              <a:gd name="T27" fmla="*/ 322 h 379"/>
              <a:gd name="T28" fmla="*/ 131 w 399"/>
              <a:gd name="T29" fmla="*/ 322 h 379"/>
              <a:gd name="T30" fmla="*/ 106 w 399"/>
              <a:gd name="T31" fmla="*/ 304 h 379"/>
              <a:gd name="T32" fmla="*/ 64 w 399"/>
              <a:gd name="T33" fmla="*/ 175 h 379"/>
              <a:gd name="T34" fmla="*/ 73 w 399"/>
              <a:gd name="T35" fmla="*/ 144 h 379"/>
              <a:gd name="T36" fmla="*/ 183 w 399"/>
              <a:gd name="T37" fmla="*/ 65 h 379"/>
              <a:gd name="T38" fmla="*/ 215 w 399"/>
              <a:gd name="T39" fmla="*/ 65 h 379"/>
              <a:gd name="T40" fmla="*/ 325 w 399"/>
              <a:gd name="T41" fmla="*/ 144 h 379"/>
              <a:gd name="T42" fmla="*/ 334 w 399"/>
              <a:gd name="T43" fmla="*/ 175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99" h="379">
                <a:moveTo>
                  <a:pt x="379" y="124"/>
                </a:moveTo>
                <a:cubicBezTo>
                  <a:pt x="222" y="10"/>
                  <a:pt x="222" y="10"/>
                  <a:pt x="222" y="10"/>
                </a:cubicBezTo>
                <a:cubicBezTo>
                  <a:pt x="208" y="0"/>
                  <a:pt x="190" y="0"/>
                  <a:pt x="176" y="10"/>
                </a:cubicBezTo>
                <a:cubicBezTo>
                  <a:pt x="19" y="124"/>
                  <a:pt x="19" y="124"/>
                  <a:pt x="19" y="124"/>
                </a:cubicBezTo>
                <a:cubicBezTo>
                  <a:pt x="5" y="134"/>
                  <a:pt x="0" y="152"/>
                  <a:pt x="5" y="168"/>
                </a:cubicBezTo>
                <a:cubicBezTo>
                  <a:pt x="65" y="353"/>
                  <a:pt x="65" y="353"/>
                  <a:pt x="65" y="353"/>
                </a:cubicBezTo>
                <a:cubicBezTo>
                  <a:pt x="70" y="369"/>
                  <a:pt x="85" y="379"/>
                  <a:pt x="102" y="379"/>
                </a:cubicBezTo>
                <a:cubicBezTo>
                  <a:pt x="296" y="379"/>
                  <a:pt x="296" y="379"/>
                  <a:pt x="296" y="379"/>
                </a:cubicBezTo>
                <a:cubicBezTo>
                  <a:pt x="313" y="379"/>
                  <a:pt x="328" y="369"/>
                  <a:pt x="333" y="353"/>
                </a:cubicBezTo>
                <a:cubicBezTo>
                  <a:pt x="393" y="168"/>
                  <a:pt x="393" y="168"/>
                  <a:pt x="393" y="168"/>
                </a:cubicBezTo>
                <a:cubicBezTo>
                  <a:pt x="399" y="152"/>
                  <a:pt x="393" y="134"/>
                  <a:pt x="379" y="124"/>
                </a:cubicBezTo>
                <a:close/>
                <a:moveTo>
                  <a:pt x="334" y="175"/>
                </a:moveTo>
                <a:cubicBezTo>
                  <a:pt x="293" y="304"/>
                  <a:pt x="293" y="304"/>
                  <a:pt x="293" y="304"/>
                </a:cubicBezTo>
                <a:cubicBezTo>
                  <a:pt x="289" y="315"/>
                  <a:pt x="279" y="322"/>
                  <a:pt x="267" y="322"/>
                </a:cubicBezTo>
                <a:cubicBezTo>
                  <a:pt x="131" y="322"/>
                  <a:pt x="131" y="322"/>
                  <a:pt x="131" y="322"/>
                </a:cubicBezTo>
                <a:cubicBezTo>
                  <a:pt x="120" y="322"/>
                  <a:pt x="109" y="315"/>
                  <a:pt x="106" y="304"/>
                </a:cubicBezTo>
                <a:cubicBezTo>
                  <a:pt x="64" y="175"/>
                  <a:pt x="64" y="175"/>
                  <a:pt x="64" y="175"/>
                </a:cubicBezTo>
                <a:cubicBezTo>
                  <a:pt x="60" y="163"/>
                  <a:pt x="64" y="151"/>
                  <a:pt x="73" y="144"/>
                </a:cubicBezTo>
                <a:cubicBezTo>
                  <a:pt x="183" y="65"/>
                  <a:pt x="183" y="65"/>
                  <a:pt x="183" y="65"/>
                </a:cubicBezTo>
                <a:cubicBezTo>
                  <a:pt x="193" y="58"/>
                  <a:pt x="205" y="58"/>
                  <a:pt x="215" y="65"/>
                </a:cubicBezTo>
                <a:cubicBezTo>
                  <a:pt x="325" y="144"/>
                  <a:pt x="325" y="144"/>
                  <a:pt x="325" y="144"/>
                </a:cubicBezTo>
                <a:cubicBezTo>
                  <a:pt x="334" y="151"/>
                  <a:pt x="338" y="163"/>
                  <a:pt x="334" y="17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E3DE83-D24A-48CA-9FC8-82E5C0FD393E}"/>
              </a:ext>
            </a:extLst>
          </p:cNvPr>
          <p:cNvGrpSpPr/>
          <p:nvPr/>
        </p:nvGrpSpPr>
        <p:grpSpPr>
          <a:xfrm>
            <a:off x="4836248" y="2084945"/>
            <a:ext cx="3302021" cy="3256582"/>
            <a:chOff x="4452938" y="1709738"/>
            <a:chExt cx="3346450" cy="343535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7B2CDC47-73C6-49A8-BE5A-2EC5BEE72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2738" y="1709738"/>
              <a:ext cx="1466850" cy="1219200"/>
            </a:xfrm>
            <a:custGeom>
              <a:avLst/>
              <a:gdLst>
                <a:gd name="T0" fmla="*/ 101 w 390"/>
                <a:gd name="T1" fmla="*/ 286 h 324"/>
                <a:gd name="T2" fmla="*/ 102 w 390"/>
                <a:gd name="T3" fmla="*/ 285 h 324"/>
                <a:gd name="T4" fmla="*/ 65 w 390"/>
                <a:gd name="T5" fmla="*/ 195 h 324"/>
                <a:gd name="T6" fmla="*/ 195 w 390"/>
                <a:gd name="T7" fmla="*/ 65 h 324"/>
                <a:gd name="T8" fmla="*/ 325 w 390"/>
                <a:gd name="T9" fmla="*/ 195 h 324"/>
                <a:gd name="T10" fmla="*/ 288 w 390"/>
                <a:gd name="T11" fmla="*/ 285 h 324"/>
                <a:gd name="T12" fmla="*/ 342 w 390"/>
                <a:gd name="T13" fmla="*/ 324 h 324"/>
                <a:gd name="T14" fmla="*/ 389 w 390"/>
                <a:gd name="T15" fmla="*/ 217 h 324"/>
                <a:gd name="T16" fmla="*/ 390 w 390"/>
                <a:gd name="T17" fmla="*/ 195 h 324"/>
                <a:gd name="T18" fmla="*/ 195 w 390"/>
                <a:gd name="T19" fmla="*/ 0 h 324"/>
                <a:gd name="T20" fmla="*/ 0 w 390"/>
                <a:gd name="T21" fmla="*/ 195 h 324"/>
                <a:gd name="T22" fmla="*/ 1 w 390"/>
                <a:gd name="T23" fmla="*/ 217 h 324"/>
                <a:gd name="T24" fmla="*/ 101 w 390"/>
                <a:gd name="T25" fmla="*/ 286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0" h="324">
                  <a:moveTo>
                    <a:pt x="101" y="286"/>
                  </a:moveTo>
                  <a:cubicBezTo>
                    <a:pt x="102" y="285"/>
                    <a:pt x="102" y="285"/>
                    <a:pt x="102" y="285"/>
                  </a:cubicBezTo>
                  <a:cubicBezTo>
                    <a:pt x="79" y="262"/>
                    <a:pt x="65" y="230"/>
                    <a:pt x="65" y="195"/>
                  </a:cubicBezTo>
                  <a:cubicBezTo>
                    <a:pt x="65" y="123"/>
                    <a:pt x="123" y="65"/>
                    <a:pt x="195" y="65"/>
                  </a:cubicBezTo>
                  <a:cubicBezTo>
                    <a:pt x="267" y="65"/>
                    <a:pt x="325" y="123"/>
                    <a:pt x="325" y="195"/>
                  </a:cubicBezTo>
                  <a:cubicBezTo>
                    <a:pt x="325" y="230"/>
                    <a:pt x="311" y="262"/>
                    <a:pt x="288" y="285"/>
                  </a:cubicBezTo>
                  <a:cubicBezTo>
                    <a:pt x="342" y="324"/>
                    <a:pt x="342" y="324"/>
                    <a:pt x="342" y="324"/>
                  </a:cubicBezTo>
                  <a:cubicBezTo>
                    <a:pt x="368" y="295"/>
                    <a:pt x="385" y="258"/>
                    <a:pt x="389" y="217"/>
                  </a:cubicBezTo>
                  <a:cubicBezTo>
                    <a:pt x="390" y="210"/>
                    <a:pt x="390" y="202"/>
                    <a:pt x="390" y="195"/>
                  </a:cubicBezTo>
                  <a:cubicBezTo>
                    <a:pt x="390" y="87"/>
                    <a:pt x="303" y="0"/>
                    <a:pt x="195" y="0"/>
                  </a:cubicBezTo>
                  <a:cubicBezTo>
                    <a:pt x="87" y="0"/>
                    <a:pt x="0" y="87"/>
                    <a:pt x="0" y="195"/>
                  </a:cubicBezTo>
                  <a:cubicBezTo>
                    <a:pt x="0" y="202"/>
                    <a:pt x="0" y="210"/>
                    <a:pt x="1" y="217"/>
                  </a:cubicBezTo>
                  <a:cubicBezTo>
                    <a:pt x="41" y="229"/>
                    <a:pt x="76" y="253"/>
                    <a:pt x="101" y="2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AE727C5F-61DF-4160-AF69-3C3398EA8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2938" y="2495551"/>
              <a:ext cx="1319213" cy="1433513"/>
            </a:xfrm>
            <a:custGeom>
              <a:avLst/>
              <a:gdLst>
                <a:gd name="T0" fmla="*/ 221 w 351"/>
                <a:gd name="T1" fmla="*/ 323 h 381"/>
                <a:gd name="T2" fmla="*/ 220 w 351"/>
                <a:gd name="T3" fmla="*/ 323 h 381"/>
                <a:gd name="T4" fmla="*/ 196 w 351"/>
                <a:gd name="T5" fmla="*/ 325 h 381"/>
                <a:gd name="T6" fmla="*/ 66 w 351"/>
                <a:gd name="T7" fmla="*/ 195 h 381"/>
                <a:gd name="T8" fmla="*/ 196 w 351"/>
                <a:gd name="T9" fmla="*/ 65 h 381"/>
                <a:gd name="T10" fmla="*/ 298 w 351"/>
                <a:gd name="T11" fmla="*/ 115 h 381"/>
                <a:gd name="T12" fmla="*/ 351 w 351"/>
                <a:gd name="T13" fmla="*/ 77 h 381"/>
                <a:gd name="T14" fmla="*/ 251 w 351"/>
                <a:gd name="T15" fmla="*/ 8 h 381"/>
                <a:gd name="T16" fmla="*/ 196 w 351"/>
                <a:gd name="T17" fmla="*/ 0 h 381"/>
                <a:gd name="T18" fmla="*/ 0 w 351"/>
                <a:gd name="T19" fmla="*/ 195 h 381"/>
                <a:gd name="T20" fmla="*/ 134 w 351"/>
                <a:gd name="T21" fmla="*/ 381 h 381"/>
                <a:gd name="T22" fmla="*/ 221 w 351"/>
                <a:gd name="T23" fmla="*/ 323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1" h="381">
                  <a:moveTo>
                    <a:pt x="221" y="323"/>
                  </a:moveTo>
                  <a:cubicBezTo>
                    <a:pt x="220" y="323"/>
                    <a:pt x="220" y="323"/>
                    <a:pt x="220" y="323"/>
                  </a:cubicBezTo>
                  <a:cubicBezTo>
                    <a:pt x="212" y="324"/>
                    <a:pt x="204" y="325"/>
                    <a:pt x="196" y="325"/>
                  </a:cubicBezTo>
                  <a:cubicBezTo>
                    <a:pt x="124" y="325"/>
                    <a:pt x="66" y="267"/>
                    <a:pt x="66" y="195"/>
                  </a:cubicBezTo>
                  <a:cubicBezTo>
                    <a:pt x="66" y="123"/>
                    <a:pt x="124" y="65"/>
                    <a:pt x="196" y="65"/>
                  </a:cubicBezTo>
                  <a:cubicBezTo>
                    <a:pt x="237" y="65"/>
                    <a:pt x="274" y="85"/>
                    <a:pt x="298" y="115"/>
                  </a:cubicBezTo>
                  <a:cubicBezTo>
                    <a:pt x="351" y="77"/>
                    <a:pt x="351" y="77"/>
                    <a:pt x="351" y="77"/>
                  </a:cubicBezTo>
                  <a:cubicBezTo>
                    <a:pt x="326" y="44"/>
                    <a:pt x="291" y="20"/>
                    <a:pt x="251" y="8"/>
                  </a:cubicBezTo>
                  <a:cubicBezTo>
                    <a:pt x="233" y="3"/>
                    <a:pt x="215" y="0"/>
                    <a:pt x="196" y="0"/>
                  </a:cubicBezTo>
                  <a:cubicBezTo>
                    <a:pt x="88" y="0"/>
                    <a:pt x="0" y="87"/>
                    <a:pt x="0" y="195"/>
                  </a:cubicBezTo>
                  <a:cubicBezTo>
                    <a:pt x="0" y="282"/>
                    <a:pt x="56" y="355"/>
                    <a:pt x="134" y="381"/>
                  </a:cubicBezTo>
                  <a:cubicBezTo>
                    <a:pt x="157" y="354"/>
                    <a:pt x="187" y="334"/>
                    <a:pt x="221" y="32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0515D54F-34A4-4E71-BE35-C5626B2FA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5201" y="3711576"/>
              <a:ext cx="1347788" cy="1433513"/>
            </a:xfrm>
            <a:custGeom>
              <a:avLst/>
              <a:gdLst>
                <a:gd name="T0" fmla="*/ 325 w 358"/>
                <a:gd name="T1" fmla="*/ 188 h 381"/>
                <a:gd name="T2" fmla="*/ 195 w 358"/>
                <a:gd name="T3" fmla="*/ 316 h 381"/>
                <a:gd name="T4" fmla="*/ 65 w 358"/>
                <a:gd name="T5" fmla="*/ 186 h 381"/>
                <a:gd name="T6" fmla="*/ 155 w 358"/>
                <a:gd name="T7" fmla="*/ 62 h 381"/>
                <a:gd name="T8" fmla="*/ 135 w 358"/>
                <a:gd name="T9" fmla="*/ 0 h 381"/>
                <a:gd name="T10" fmla="*/ 48 w 358"/>
                <a:gd name="T11" fmla="*/ 58 h 381"/>
                <a:gd name="T12" fmla="*/ 0 w 358"/>
                <a:gd name="T13" fmla="*/ 186 h 381"/>
                <a:gd name="T14" fmla="*/ 195 w 358"/>
                <a:gd name="T15" fmla="*/ 381 h 381"/>
                <a:gd name="T16" fmla="*/ 358 w 358"/>
                <a:gd name="T17" fmla="*/ 294 h 381"/>
                <a:gd name="T18" fmla="*/ 326 w 358"/>
                <a:gd name="T19" fmla="*/ 188 h 381"/>
                <a:gd name="T20" fmla="*/ 325 w 358"/>
                <a:gd name="T21" fmla="*/ 188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8" h="381">
                  <a:moveTo>
                    <a:pt x="325" y="188"/>
                  </a:moveTo>
                  <a:cubicBezTo>
                    <a:pt x="324" y="259"/>
                    <a:pt x="266" y="316"/>
                    <a:pt x="195" y="316"/>
                  </a:cubicBezTo>
                  <a:cubicBezTo>
                    <a:pt x="124" y="316"/>
                    <a:pt x="65" y="258"/>
                    <a:pt x="65" y="186"/>
                  </a:cubicBezTo>
                  <a:cubicBezTo>
                    <a:pt x="65" y="128"/>
                    <a:pt x="103" y="79"/>
                    <a:pt x="155" y="6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01" y="11"/>
                    <a:pt x="71" y="31"/>
                    <a:pt x="48" y="58"/>
                  </a:cubicBezTo>
                  <a:cubicBezTo>
                    <a:pt x="18" y="92"/>
                    <a:pt x="0" y="137"/>
                    <a:pt x="0" y="186"/>
                  </a:cubicBezTo>
                  <a:cubicBezTo>
                    <a:pt x="0" y="294"/>
                    <a:pt x="87" y="381"/>
                    <a:pt x="195" y="381"/>
                  </a:cubicBezTo>
                  <a:cubicBezTo>
                    <a:pt x="264" y="381"/>
                    <a:pt x="323" y="347"/>
                    <a:pt x="358" y="294"/>
                  </a:cubicBezTo>
                  <a:cubicBezTo>
                    <a:pt x="338" y="263"/>
                    <a:pt x="327" y="227"/>
                    <a:pt x="326" y="188"/>
                  </a:cubicBezTo>
                  <a:lnTo>
                    <a:pt x="325" y="18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B90AE353-7FE9-43FC-B3F1-DCB6DBD6B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2338" y="3929063"/>
              <a:ext cx="1470025" cy="1216025"/>
            </a:xfrm>
            <a:custGeom>
              <a:avLst/>
              <a:gdLst>
                <a:gd name="T0" fmla="*/ 237 w 391"/>
                <a:gd name="T1" fmla="*/ 4 h 323"/>
                <a:gd name="T2" fmla="*/ 237 w 391"/>
                <a:gd name="T3" fmla="*/ 5 h 323"/>
                <a:gd name="T4" fmla="*/ 326 w 391"/>
                <a:gd name="T5" fmla="*/ 128 h 323"/>
                <a:gd name="T6" fmla="*/ 195 w 391"/>
                <a:gd name="T7" fmla="*/ 258 h 323"/>
                <a:gd name="T8" fmla="*/ 66 w 391"/>
                <a:gd name="T9" fmla="*/ 130 h 323"/>
                <a:gd name="T10" fmla="*/ 0 w 391"/>
                <a:gd name="T11" fmla="*/ 130 h 323"/>
                <a:gd name="T12" fmla="*/ 32 w 391"/>
                <a:gd name="T13" fmla="*/ 236 h 323"/>
                <a:gd name="T14" fmla="*/ 195 w 391"/>
                <a:gd name="T15" fmla="*/ 323 h 323"/>
                <a:gd name="T16" fmla="*/ 391 w 391"/>
                <a:gd name="T17" fmla="*/ 128 h 323"/>
                <a:gd name="T18" fmla="*/ 343 w 391"/>
                <a:gd name="T19" fmla="*/ 0 h 323"/>
                <a:gd name="T20" fmla="*/ 282 w 391"/>
                <a:gd name="T21" fmla="*/ 10 h 323"/>
                <a:gd name="T22" fmla="*/ 237 w 391"/>
                <a:gd name="T23" fmla="*/ 4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1" h="323">
                  <a:moveTo>
                    <a:pt x="237" y="4"/>
                  </a:moveTo>
                  <a:cubicBezTo>
                    <a:pt x="237" y="5"/>
                    <a:pt x="237" y="5"/>
                    <a:pt x="237" y="5"/>
                  </a:cubicBezTo>
                  <a:cubicBezTo>
                    <a:pt x="288" y="22"/>
                    <a:pt x="326" y="71"/>
                    <a:pt x="326" y="128"/>
                  </a:cubicBezTo>
                  <a:cubicBezTo>
                    <a:pt x="326" y="200"/>
                    <a:pt x="267" y="258"/>
                    <a:pt x="195" y="258"/>
                  </a:cubicBezTo>
                  <a:cubicBezTo>
                    <a:pt x="124" y="258"/>
                    <a:pt x="67" y="201"/>
                    <a:pt x="66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1" y="169"/>
                    <a:pt x="12" y="205"/>
                    <a:pt x="32" y="236"/>
                  </a:cubicBezTo>
                  <a:cubicBezTo>
                    <a:pt x="67" y="289"/>
                    <a:pt x="127" y="323"/>
                    <a:pt x="195" y="323"/>
                  </a:cubicBezTo>
                  <a:cubicBezTo>
                    <a:pt x="303" y="323"/>
                    <a:pt x="391" y="236"/>
                    <a:pt x="391" y="128"/>
                  </a:cubicBezTo>
                  <a:cubicBezTo>
                    <a:pt x="391" y="79"/>
                    <a:pt x="373" y="34"/>
                    <a:pt x="343" y="0"/>
                  </a:cubicBezTo>
                  <a:cubicBezTo>
                    <a:pt x="324" y="6"/>
                    <a:pt x="304" y="10"/>
                    <a:pt x="282" y="10"/>
                  </a:cubicBezTo>
                  <a:cubicBezTo>
                    <a:pt x="267" y="10"/>
                    <a:pt x="252" y="8"/>
                    <a:pt x="237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8223FA79-1310-4BF5-A860-478DE342AD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8613" y="2495551"/>
              <a:ext cx="1120775" cy="1471613"/>
            </a:xfrm>
            <a:custGeom>
              <a:avLst/>
              <a:gdLst>
                <a:gd name="T0" fmla="*/ 298 w 298"/>
                <a:gd name="T1" fmla="*/ 195 h 391"/>
                <a:gd name="T2" fmla="*/ 102 w 298"/>
                <a:gd name="T3" fmla="*/ 0 h 391"/>
                <a:gd name="T4" fmla="*/ 47 w 298"/>
                <a:gd name="T5" fmla="*/ 8 h 391"/>
                <a:gd name="T6" fmla="*/ 0 w 298"/>
                <a:gd name="T7" fmla="*/ 115 h 391"/>
                <a:gd name="T8" fmla="*/ 0 w 298"/>
                <a:gd name="T9" fmla="*/ 115 h 391"/>
                <a:gd name="T10" fmla="*/ 102 w 298"/>
                <a:gd name="T11" fmla="*/ 65 h 391"/>
                <a:gd name="T12" fmla="*/ 233 w 298"/>
                <a:gd name="T13" fmla="*/ 195 h 391"/>
                <a:gd name="T14" fmla="*/ 102 w 298"/>
                <a:gd name="T15" fmla="*/ 325 h 391"/>
                <a:gd name="T16" fmla="*/ 78 w 298"/>
                <a:gd name="T17" fmla="*/ 323 h 391"/>
                <a:gd name="T18" fmla="*/ 57 w 298"/>
                <a:gd name="T19" fmla="*/ 385 h 391"/>
                <a:gd name="T20" fmla="*/ 102 w 298"/>
                <a:gd name="T21" fmla="*/ 391 h 391"/>
                <a:gd name="T22" fmla="*/ 163 w 298"/>
                <a:gd name="T23" fmla="*/ 381 h 391"/>
                <a:gd name="T24" fmla="*/ 298 w 298"/>
                <a:gd name="T25" fmla="*/ 195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8" h="391">
                  <a:moveTo>
                    <a:pt x="298" y="195"/>
                  </a:moveTo>
                  <a:cubicBezTo>
                    <a:pt x="298" y="87"/>
                    <a:pt x="210" y="0"/>
                    <a:pt x="102" y="0"/>
                  </a:cubicBezTo>
                  <a:cubicBezTo>
                    <a:pt x="83" y="0"/>
                    <a:pt x="65" y="3"/>
                    <a:pt x="47" y="8"/>
                  </a:cubicBezTo>
                  <a:cubicBezTo>
                    <a:pt x="43" y="49"/>
                    <a:pt x="26" y="86"/>
                    <a:pt x="0" y="115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4" y="85"/>
                    <a:pt x="61" y="65"/>
                    <a:pt x="102" y="65"/>
                  </a:cubicBezTo>
                  <a:cubicBezTo>
                    <a:pt x="174" y="65"/>
                    <a:pt x="233" y="123"/>
                    <a:pt x="233" y="195"/>
                  </a:cubicBezTo>
                  <a:cubicBezTo>
                    <a:pt x="233" y="267"/>
                    <a:pt x="174" y="325"/>
                    <a:pt x="102" y="325"/>
                  </a:cubicBezTo>
                  <a:cubicBezTo>
                    <a:pt x="94" y="325"/>
                    <a:pt x="86" y="324"/>
                    <a:pt x="78" y="323"/>
                  </a:cubicBezTo>
                  <a:cubicBezTo>
                    <a:pt x="57" y="385"/>
                    <a:pt x="57" y="385"/>
                    <a:pt x="57" y="385"/>
                  </a:cubicBezTo>
                  <a:cubicBezTo>
                    <a:pt x="72" y="389"/>
                    <a:pt x="87" y="391"/>
                    <a:pt x="102" y="391"/>
                  </a:cubicBezTo>
                  <a:cubicBezTo>
                    <a:pt x="124" y="391"/>
                    <a:pt x="144" y="387"/>
                    <a:pt x="163" y="381"/>
                  </a:cubicBezTo>
                  <a:cubicBezTo>
                    <a:pt x="241" y="355"/>
                    <a:pt x="298" y="282"/>
                    <a:pt x="298" y="19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F6A685F-003D-4AF4-8E28-C17D79DA6F1B}"/>
                </a:ext>
              </a:extLst>
            </p:cNvPr>
            <p:cNvSpPr txBox="1"/>
            <p:nvPr/>
          </p:nvSpPr>
          <p:spPr>
            <a:xfrm>
              <a:off x="5940609" y="2057728"/>
              <a:ext cx="37702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/>
                  </a:solidFill>
                  <a:effectLst/>
                  <a:uLnTx/>
                  <a:uFillTx/>
                  <a:latin typeface="Source Sans Pro" charset="0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8FE545C-B320-4A94-8C5A-5C206B781B36}"/>
                </a:ext>
              </a:extLst>
            </p:cNvPr>
            <p:cNvSpPr txBox="1"/>
            <p:nvPr/>
          </p:nvSpPr>
          <p:spPr>
            <a:xfrm>
              <a:off x="6958072" y="2950697"/>
              <a:ext cx="38664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Source Sans Pro" charset="0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B292A5D-FE30-42A1-9D79-7C2D2AC4691A}"/>
                </a:ext>
              </a:extLst>
            </p:cNvPr>
            <p:cNvSpPr txBox="1"/>
            <p:nvPr/>
          </p:nvSpPr>
          <p:spPr>
            <a:xfrm>
              <a:off x="4958949" y="2950697"/>
              <a:ext cx="37863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Source Sans Pro" charset="0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7ECC6BD-59E0-4EB1-B1B8-95D9D8670989}"/>
                </a:ext>
              </a:extLst>
            </p:cNvPr>
            <p:cNvSpPr txBox="1"/>
            <p:nvPr/>
          </p:nvSpPr>
          <p:spPr>
            <a:xfrm>
              <a:off x="5283587" y="4143303"/>
              <a:ext cx="38664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Source Sans Pro" charset="0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5A322F-A101-449E-838F-79764EE60A36}"/>
                </a:ext>
              </a:extLst>
            </p:cNvPr>
            <p:cNvSpPr txBox="1"/>
            <p:nvPr/>
          </p:nvSpPr>
          <p:spPr>
            <a:xfrm>
              <a:off x="6575432" y="4143303"/>
              <a:ext cx="35298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A5A5A5"/>
                  </a:solidFill>
                  <a:effectLst/>
                  <a:uLnTx/>
                  <a:uFillTx/>
                  <a:latin typeface="Source Sans Pro" charset="0"/>
                  <a:ea typeface="+mn-ea"/>
                  <a:cs typeface="+mn-cs"/>
                </a:rPr>
                <a:t>c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139FBDB-BD51-4D8A-9ECC-10093D59F743}"/>
              </a:ext>
            </a:extLst>
          </p:cNvPr>
          <p:cNvSpPr/>
          <p:nvPr/>
        </p:nvSpPr>
        <p:spPr>
          <a:xfrm>
            <a:off x="8494454" y="2910819"/>
            <a:ext cx="2462230" cy="103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2400" b="1" dirty="0">
                <a:solidFill>
                  <a:prstClr val="black"/>
                </a:solidFill>
                <a:latin typeface="Source Sans Pro" charset="0"/>
              </a:rPr>
              <a:t>D</a:t>
            </a:r>
            <a:r>
              <a:rPr lang="en-US" sz="2400" b="1" dirty="0" err="1">
                <a:solidFill>
                  <a:prstClr val="black"/>
                </a:solidFill>
                <a:latin typeface="Source Sans Pro" charset="0"/>
              </a:rPr>
              <a:t>esempeñ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Estructuras de datos y tecnología que optimicen los procesos de las aplicacion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EA58A9-BF18-457E-9D72-67BFFE9186EA}"/>
              </a:ext>
            </a:extLst>
          </p:cNvPr>
          <p:cNvSpPr/>
          <p:nvPr/>
        </p:nvSpPr>
        <p:spPr>
          <a:xfrm>
            <a:off x="1926805" y="2993496"/>
            <a:ext cx="2462230" cy="871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Escalabilida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Capacida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par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crecimient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d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infraestructur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1DD8B05-99DE-499F-992E-CC9A26969E6D}"/>
              </a:ext>
            </a:extLst>
          </p:cNvPr>
          <p:cNvSpPr/>
          <p:nvPr/>
        </p:nvSpPr>
        <p:spPr>
          <a:xfrm>
            <a:off x="2793156" y="5278529"/>
            <a:ext cx="2462230" cy="1074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Disponibilida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y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redundancia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Múltipl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instancia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00B98C-0451-431B-AB82-5845A636E63C}"/>
              </a:ext>
            </a:extLst>
          </p:cNvPr>
          <p:cNvSpPr/>
          <p:nvPr/>
        </p:nvSpPr>
        <p:spPr>
          <a:xfrm>
            <a:off x="7689635" y="5377713"/>
            <a:ext cx="2462230" cy="871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Agilida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Adaptació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cambi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el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entorn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18FAEE-E8D8-4E40-98C1-741944D2D970}"/>
              </a:ext>
            </a:extLst>
          </p:cNvPr>
          <p:cNvSpPr/>
          <p:nvPr/>
        </p:nvSpPr>
        <p:spPr>
          <a:xfrm>
            <a:off x="5255386" y="1061216"/>
            <a:ext cx="2462230" cy="8710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Segurida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Protecció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charset="0"/>
                <a:ea typeface="+mn-ea"/>
                <a:cs typeface="+mn-cs"/>
              </a:rPr>
              <a:t> Web, DDoS, Desarrollo Seguro</a:t>
            </a:r>
          </a:p>
        </p:txBody>
      </p:sp>
    </p:spTree>
    <p:extLst>
      <p:ext uri="{BB962C8B-B14F-4D97-AF65-F5344CB8AC3E}">
        <p14:creationId xmlns:p14="http://schemas.microsoft.com/office/powerpoint/2010/main" val="32180139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052" y="-84747"/>
            <a:ext cx="10972801" cy="1090417"/>
          </a:xfrm>
        </p:spPr>
        <p:txBody>
          <a:bodyPr/>
          <a:lstStyle/>
          <a:p>
            <a:r>
              <a:rPr lang="en-US" dirty="0"/>
              <a:t>Sistema de </a:t>
            </a:r>
            <a:r>
              <a:rPr lang="es-MX" dirty="0"/>
              <a:t>Gestión</a:t>
            </a:r>
            <a:r>
              <a:rPr lang="en-US" dirty="0"/>
              <a:t> de </a:t>
            </a:r>
            <a:r>
              <a:rPr lang="es-MX" dirty="0"/>
              <a:t>Seguridad </a:t>
            </a:r>
            <a:r>
              <a:rPr lang="en-US" dirty="0"/>
              <a:t>de la </a:t>
            </a:r>
            <a:r>
              <a:rPr lang="es-MX" dirty="0"/>
              <a:t>Información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54DDEBD5-7382-45CE-A4DC-DF914BFFF195}"/>
              </a:ext>
            </a:extLst>
          </p:cNvPr>
          <p:cNvSpPr txBox="1">
            <a:spLocks/>
          </p:cNvSpPr>
          <p:nvPr/>
        </p:nvSpPr>
        <p:spPr>
          <a:xfrm>
            <a:off x="1051810" y="1464004"/>
            <a:ext cx="10088380" cy="4388326"/>
          </a:xfr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es-MX" sz="2400" b="1" dirty="0"/>
              <a:t>Políticas de Seguridad</a:t>
            </a:r>
          </a:p>
          <a:p>
            <a:pPr marL="342900" indent="-342900"/>
            <a:endParaRPr lang="es-MX" sz="2000" b="1" dirty="0"/>
          </a:p>
          <a:p>
            <a:pPr marL="800100" lvl="1" indent="-342900"/>
            <a:r>
              <a:rPr lang="es-MX" sz="2000" dirty="0"/>
              <a:t>Procesos y procedimientos, revisados y aprobados periódicamente por el </a:t>
            </a:r>
            <a:r>
              <a:rPr lang="es-MX" sz="2000" b="1" dirty="0"/>
              <a:t>Comité Integral</a:t>
            </a:r>
            <a:r>
              <a:rPr lang="es-MX" sz="2000" dirty="0"/>
              <a:t> </a:t>
            </a:r>
          </a:p>
          <a:p>
            <a:pPr marL="800100" lvl="1" indent="-342900"/>
            <a:r>
              <a:rPr lang="es-MX" sz="2000" dirty="0"/>
              <a:t>Basado principalmente en </a:t>
            </a:r>
            <a:r>
              <a:rPr lang="es-MX" sz="2000" b="1" dirty="0"/>
              <a:t>ISO-27001.</a:t>
            </a:r>
          </a:p>
          <a:p>
            <a:pPr marL="800100" lvl="1" indent="-342900"/>
            <a:r>
              <a:rPr lang="es-MX" sz="2000" dirty="0"/>
              <a:t>En cumplimiento con certificación </a:t>
            </a:r>
            <a:r>
              <a:rPr lang="es-MX" sz="2000" b="1" dirty="0"/>
              <a:t>PCI-DSS</a:t>
            </a:r>
          </a:p>
          <a:p>
            <a:pPr marL="800100" lvl="1" indent="-342900"/>
            <a:r>
              <a:rPr lang="es-MX" sz="2000" dirty="0"/>
              <a:t>Cumplimiento de </a:t>
            </a:r>
            <a:r>
              <a:rPr lang="es-419" sz="2000" b="1" dirty="0"/>
              <a:t>LFPDPPP</a:t>
            </a:r>
            <a:endParaRPr lang="es-MX" sz="2000" b="1" dirty="0"/>
          </a:p>
          <a:p>
            <a:pPr lvl="1"/>
            <a:endParaRPr lang="es-MX" dirty="0"/>
          </a:p>
          <a:p>
            <a:pPr marL="342900" indent="-342900"/>
            <a:r>
              <a:rPr lang="es-MX" sz="2400" b="1" dirty="0"/>
              <a:t>Auditorias internas</a:t>
            </a:r>
            <a:r>
              <a:rPr lang="es-MX" sz="2400" dirty="0"/>
              <a:t> realizadas periódicamente para validar el cumplimiento de las políticas, procesos y procedimientos definidos dentro del alcance del SGSI.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13800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EFC7D61-B01A-4473-8FA2-3C1247B9B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238" y="74192"/>
            <a:ext cx="10972801" cy="491477"/>
          </a:xfrm>
        </p:spPr>
        <p:txBody>
          <a:bodyPr/>
          <a:lstStyle/>
          <a:p>
            <a:r>
              <a:rPr lang="es-419" dirty="0"/>
              <a:t>NIC México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615A96A-DC03-4824-BD83-384E84AE860E}"/>
              </a:ext>
            </a:extLst>
          </p:cNvPr>
          <p:cNvSpPr txBox="1">
            <a:spLocks/>
          </p:cNvSpPr>
          <p:nvPr/>
        </p:nvSpPr>
        <p:spPr>
          <a:xfrm>
            <a:off x="1364566" y="2064498"/>
            <a:ext cx="10354146" cy="3042075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419" sz="2500" dirty="0">
                <a:latin typeface="Arial" panose="020B0604020202020204" pitchFamily="34" charset="0"/>
                <a:cs typeface="Arial" panose="020B0604020202020204" pitchFamily="34" charset="0"/>
              </a:rPr>
              <a:t>Somos la entidad encargada de la administración de los nombres de dominio .MX, así como de la asignación de direcciones IP para las entidades establecidas en México.</a:t>
            </a:r>
          </a:p>
          <a:p>
            <a:pPr algn="just"/>
            <a:endParaRPr lang="es-419" sz="2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419" sz="2500" b="1" dirty="0">
                <a:latin typeface="Arial" panose="020B0604020202020204" pitchFamily="34" charset="0"/>
                <a:cs typeface="Arial" panose="020B0604020202020204" pitchFamily="34" charset="0"/>
              </a:rPr>
              <a:t>Buscamos el desarrollo del .MX</a:t>
            </a:r>
            <a:r>
              <a:rPr lang="es-419" sz="2500" dirty="0">
                <a:latin typeface="Arial" panose="020B0604020202020204" pitchFamily="34" charset="0"/>
                <a:cs typeface="Arial" panose="020B0604020202020204" pitchFamily="34" charset="0"/>
              </a:rPr>
              <a:t>, contribuir al crecimiento del Internet a través de la excelencia en la administración de recursos tecnológicos que requieren supervisión centralizada y satisfaciendo las necesidades de nuestros clientes.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es-41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2438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C67E668-FC2B-4874-A5BD-10375E217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419" dirty="0"/>
              <a:t>Pruebas de Seguridad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30E50DB-AC89-4F09-B285-D395FD6465F8}"/>
              </a:ext>
            </a:extLst>
          </p:cNvPr>
          <p:cNvGrpSpPr/>
          <p:nvPr/>
        </p:nvGrpSpPr>
        <p:grpSpPr>
          <a:xfrm>
            <a:off x="1449360" y="2366038"/>
            <a:ext cx="3102903" cy="1219435"/>
            <a:chOff x="1270110" y="2672672"/>
            <a:chExt cx="3041113" cy="113993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A4464DC-D1B2-4E87-B98B-5DEE9D6D8AC7}"/>
                </a:ext>
              </a:extLst>
            </p:cNvPr>
            <p:cNvSpPr txBox="1"/>
            <p:nvPr/>
          </p:nvSpPr>
          <p:spPr>
            <a:xfrm>
              <a:off x="1270111" y="3119163"/>
              <a:ext cx="3041112" cy="6934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s-419" sz="1200" dirty="0">
                  <a:solidFill>
                    <a:schemeClr val="tx1">
                      <a:alpha val="60000"/>
                    </a:schemeClr>
                  </a:solidFill>
                  <a:latin typeface="Source Sans Pro" charset="0"/>
                  <a:ea typeface="Source Sans Pro" charset="0"/>
                  <a:cs typeface="Source Sans Pro" charset="0"/>
                </a:rPr>
                <a:t>Búsqueda de vulnerabilidades  en redes, sistemas operativos, </a:t>
              </a:r>
              <a:r>
                <a:rPr lang="es-419" sz="1200" dirty="0" err="1">
                  <a:solidFill>
                    <a:schemeClr val="tx1">
                      <a:alpha val="60000"/>
                    </a:schemeClr>
                  </a:solidFill>
                  <a:latin typeface="Source Sans Pro" charset="0"/>
                  <a:ea typeface="Source Sans Pro" charset="0"/>
                  <a:cs typeface="Source Sans Pro" charset="0"/>
                </a:rPr>
                <a:t>etc</a:t>
              </a:r>
              <a:r>
                <a:rPr lang="es-419" sz="1200" dirty="0">
                  <a:solidFill>
                    <a:schemeClr val="tx1">
                      <a:alpha val="60000"/>
                    </a:schemeClr>
                  </a:solidFill>
                  <a:latin typeface="Source Sans Pro" charset="0"/>
                  <a:ea typeface="Source Sans Pro" charset="0"/>
                  <a:cs typeface="Source Sans Pro" charset="0"/>
                </a:rPr>
                <a:t>, para mitigar el riesgo de seguridad</a:t>
              </a:r>
            </a:p>
          </p:txBody>
        </p:sp>
        <p:sp>
          <p:nvSpPr>
            <p:cNvPr id="6" name="Title 1">
              <a:extLst>
                <a:ext uri="{FF2B5EF4-FFF2-40B4-BE49-F238E27FC236}">
                  <a16:creationId xmlns:a16="http://schemas.microsoft.com/office/drawing/2014/main" id="{7617962E-72CE-41AD-B806-870013A58D2C}"/>
                </a:ext>
              </a:extLst>
            </p:cNvPr>
            <p:cNvSpPr txBox="1">
              <a:spLocks/>
            </p:cNvSpPr>
            <p:nvPr/>
          </p:nvSpPr>
          <p:spPr>
            <a:xfrm>
              <a:off x="1270110" y="2672672"/>
              <a:ext cx="3034261" cy="364867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es-419" sz="1800" dirty="0"/>
                <a:t>Escaneo de Vulnerabilidade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C566B6E-7318-426F-AF91-3C9D852AA68C}"/>
              </a:ext>
            </a:extLst>
          </p:cNvPr>
          <p:cNvGrpSpPr/>
          <p:nvPr/>
        </p:nvGrpSpPr>
        <p:grpSpPr>
          <a:xfrm>
            <a:off x="4909149" y="2316672"/>
            <a:ext cx="3041113" cy="920557"/>
            <a:chOff x="1270110" y="2672672"/>
            <a:chExt cx="3041113" cy="92055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BCBF6BB-702B-4F87-996D-4383982466D1}"/>
                </a:ext>
              </a:extLst>
            </p:cNvPr>
            <p:cNvSpPr txBox="1"/>
            <p:nvPr/>
          </p:nvSpPr>
          <p:spPr>
            <a:xfrm>
              <a:off x="1270111" y="3073022"/>
              <a:ext cx="3041112" cy="5202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s-419" sz="1200" dirty="0">
                  <a:solidFill>
                    <a:schemeClr val="tx1">
                      <a:alpha val="60000"/>
                    </a:schemeClr>
                  </a:solidFill>
                  <a:latin typeface="Source Sans Pro" charset="0"/>
                  <a:ea typeface="Source Sans Pro" charset="0"/>
                  <a:cs typeface="Source Sans Pro" charset="0"/>
                </a:rPr>
                <a:t>Escaneo o pruebas manuales o automáticos con el objetivo de vulnerar la aplicación</a:t>
              </a:r>
            </a:p>
          </p:txBody>
        </p:sp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68E5DC17-0066-4F7B-9FF2-599834FA9457}"/>
                </a:ext>
              </a:extLst>
            </p:cNvPr>
            <p:cNvSpPr txBox="1">
              <a:spLocks/>
            </p:cNvSpPr>
            <p:nvPr/>
          </p:nvSpPr>
          <p:spPr>
            <a:xfrm>
              <a:off x="1270110" y="2672672"/>
              <a:ext cx="3034261" cy="364867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es-419" sz="1800" dirty="0"/>
                <a:t>Escaneo de Seguridad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C4C6C74-479D-4469-BDEB-9016BFA30802}"/>
              </a:ext>
            </a:extLst>
          </p:cNvPr>
          <p:cNvGrpSpPr/>
          <p:nvPr/>
        </p:nvGrpSpPr>
        <p:grpSpPr>
          <a:xfrm>
            <a:off x="8307147" y="2272589"/>
            <a:ext cx="3041113" cy="1142156"/>
            <a:chOff x="1270110" y="2672672"/>
            <a:chExt cx="3041113" cy="1142156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C479B79-E166-469C-92D7-540AC6B44F8C}"/>
                </a:ext>
              </a:extLst>
            </p:cNvPr>
            <p:cNvSpPr txBox="1"/>
            <p:nvPr/>
          </p:nvSpPr>
          <p:spPr>
            <a:xfrm>
              <a:off x="1270111" y="3073022"/>
              <a:ext cx="3041112" cy="741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s-419" sz="1200" dirty="0">
                  <a:solidFill>
                    <a:schemeClr val="tx1">
                      <a:alpha val="60000"/>
                    </a:schemeClr>
                  </a:solidFill>
                  <a:latin typeface="Source Sans Pro" charset="0"/>
                  <a:ea typeface="Source Sans Pro" charset="0"/>
                  <a:cs typeface="Source Sans Pro" charset="0"/>
                </a:rPr>
                <a:t>Simulación de un ataque malicioso cuyo enfoque es encontrar vulnerabilidades de manera externa.</a:t>
              </a:r>
            </a:p>
          </p:txBody>
        </p:sp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C8FD1B8F-3834-41F0-9B31-13C575E3601F}"/>
                </a:ext>
              </a:extLst>
            </p:cNvPr>
            <p:cNvSpPr txBox="1">
              <a:spLocks/>
            </p:cNvSpPr>
            <p:nvPr/>
          </p:nvSpPr>
          <p:spPr>
            <a:xfrm>
              <a:off x="1270110" y="2672672"/>
              <a:ext cx="3034261" cy="364867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es-419" sz="1800" dirty="0"/>
                <a:t>Pruebas de Penetración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6F98BC0-B480-4FAB-BDDA-E82C72DFF374}"/>
              </a:ext>
            </a:extLst>
          </p:cNvPr>
          <p:cNvGrpSpPr/>
          <p:nvPr/>
        </p:nvGrpSpPr>
        <p:grpSpPr>
          <a:xfrm>
            <a:off x="1449360" y="4482354"/>
            <a:ext cx="3041113" cy="1142156"/>
            <a:chOff x="1270110" y="2672672"/>
            <a:chExt cx="3041113" cy="114215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C18326F-749C-4B3F-8459-1831773ABBD6}"/>
                </a:ext>
              </a:extLst>
            </p:cNvPr>
            <p:cNvSpPr txBox="1"/>
            <p:nvPr/>
          </p:nvSpPr>
          <p:spPr>
            <a:xfrm>
              <a:off x="1270111" y="3073022"/>
              <a:ext cx="3041112" cy="741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s-419" sz="1200" dirty="0">
                  <a:solidFill>
                    <a:schemeClr val="tx1">
                      <a:alpha val="60000"/>
                    </a:schemeClr>
                  </a:solidFill>
                  <a:latin typeface="Source Sans Pro" charset="0"/>
                  <a:ea typeface="Source Sans Pro" charset="0"/>
                  <a:cs typeface="Source Sans Pro" charset="0"/>
                </a:rPr>
                <a:t>Identificar riesgos desde la etapa de planeación, riesgos en la aplicación o de negocio.</a:t>
              </a:r>
            </a:p>
          </p:txBody>
        </p:sp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AA67A285-91FF-4CA3-B1D3-6FB0E9459808}"/>
                </a:ext>
              </a:extLst>
            </p:cNvPr>
            <p:cNvSpPr txBox="1">
              <a:spLocks/>
            </p:cNvSpPr>
            <p:nvPr/>
          </p:nvSpPr>
          <p:spPr>
            <a:xfrm>
              <a:off x="1270110" y="2672672"/>
              <a:ext cx="3034261" cy="383742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es-419" sz="1800" dirty="0"/>
                <a:t>Análisis de Riesgo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5B5079B-5E8C-4917-A18A-13BEAA352F51}"/>
              </a:ext>
            </a:extLst>
          </p:cNvPr>
          <p:cNvGrpSpPr/>
          <p:nvPr/>
        </p:nvGrpSpPr>
        <p:grpSpPr>
          <a:xfrm>
            <a:off x="4909149" y="4501229"/>
            <a:ext cx="3041113" cy="920557"/>
            <a:chOff x="1270110" y="2672672"/>
            <a:chExt cx="3041113" cy="920557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7BB79EE-28EE-4383-ACD8-D5AC820FC48D}"/>
                </a:ext>
              </a:extLst>
            </p:cNvPr>
            <p:cNvSpPr txBox="1"/>
            <p:nvPr/>
          </p:nvSpPr>
          <p:spPr>
            <a:xfrm>
              <a:off x="1270111" y="3073022"/>
              <a:ext cx="3041112" cy="5202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s-419" sz="1200" dirty="0">
                  <a:solidFill>
                    <a:schemeClr val="tx1">
                      <a:alpha val="60000"/>
                    </a:schemeClr>
                  </a:solidFill>
                  <a:latin typeface="Source Sans Pro" charset="0"/>
                  <a:ea typeface="Source Sans Pro" charset="0"/>
                  <a:cs typeface="Source Sans Pro" charset="0"/>
                </a:rPr>
                <a:t>Auditorías internas o externas en busca de fallos en procesos.</a:t>
              </a:r>
            </a:p>
          </p:txBody>
        </p:sp>
        <p:sp>
          <p:nvSpPr>
            <p:cNvPr id="22" name="Title 1">
              <a:extLst>
                <a:ext uri="{FF2B5EF4-FFF2-40B4-BE49-F238E27FC236}">
                  <a16:creationId xmlns:a16="http://schemas.microsoft.com/office/drawing/2014/main" id="{A4C7A15C-451C-4F8A-8300-A70BDD1D7C95}"/>
                </a:ext>
              </a:extLst>
            </p:cNvPr>
            <p:cNvSpPr txBox="1">
              <a:spLocks/>
            </p:cNvSpPr>
            <p:nvPr/>
          </p:nvSpPr>
          <p:spPr>
            <a:xfrm>
              <a:off x="1270110" y="2672672"/>
              <a:ext cx="3034261" cy="364867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es-419" sz="1800" dirty="0"/>
                <a:t>Auditorías de Seguridad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2C15257-8B2C-442C-BA43-F5A5C04112C7}"/>
              </a:ext>
            </a:extLst>
          </p:cNvPr>
          <p:cNvGrpSpPr/>
          <p:nvPr/>
        </p:nvGrpSpPr>
        <p:grpSpPr>
          <a:xfrm>
            <a:off x="8214784" y="4501229"/>
            <a:ext cx="3126624" cy="1344880"/>
            <a:chOff x="1177747" y="2672672"/>
            <a:chExt cx="3126624" cy="1344880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08DA326-0F3C-4027-A8BA-719CC84F0253}"/>
                </a:ext>
              </a:extLst>
            </p:cNvPr>
            <p:cNvSpPr txBox="1"/>
            <p:nvPr/>
          </p:nvSpPr>
          <p:spPr>
            <a:xfrm>
              <a:off x="1177747" y="3054147"/>
              <a:ext cx="3041112" cy="963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s-419" sz="1200" dirty="0">
                  <a:solidFill>
                    <a:schemeClr val="tx1">
                      <a:alpha val="60000"/>
                    </a:schemeClr>
                  </a:solidFill>
                  <a:latin typeface="Source Sans Pro" charset="0"/>
                  <a:ea typeface="Source Sans Pro" charset="0"/>
                  <a:cs typeface="Source Sans Pro" charset="0"/>
                </a:rPr>
                <a:t>“Hackers” internos o externos contratados cuyo objetivo es entrar al Sistema, reportando los hallazgos con el fin de fortalecer a la aplicación.</a:t>
              </a:r>
            </a:p>
          </p:txBody>
        </p:sp>
        <p:sp>
          <p:nvSpPr>
            <p:cNvPr id="26" name="Title 1">
              <a:extLst>
                <a:ext uri="{FF2B5EF4-FFF2-40B4-BE49-F238E27FC236}">
                  <a16:creationId xmlns:a16="http://schemas.microsoft.com/office/drawing/2014/main" id="{401B4F15-BECE-4FD0-BAF4-050AF4AFCB59}"/>
                </a:ext>
              </a:extLst>
            </p:cNvPr>
            <p:cNvSpPr txBox="1">
              <a:spLocks/>
            </p:cNvSpPr>
            <p:nvPr/>
          </p:nvSpPr>
          <p:spPr>
            <a:xfrm>
              <a:off x="1270110" y="2672672"/>
              <a:ext cx="3034261" cy="364867"/>
            </a:xfrm>
            <a:prstGeom prst="rect">
              <a:avLst/>
            </a:prstGeom>
          </p:spPr>
          <p:txBody>
            <a:bodyPr/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b="1" i="0" kern="1200">
                  <a:solidFill>
                    <a:schemeClr val="tx1"/>
                  </a:solidFill>
                  <a:latin typeface="Source Sans Pro Black" charset="0"/>
                  <a:ea typeface="Source Sans Pro Black" charset="0"/>
                  <a:cs typeface="Source Sans Pro Black" charset="0"/>
                </a:defRPr>
              </a:lvl1pPr>
            </a:lstStyle>
            <a:p>
              <a:pPr algn="l"/>
              <a:r>
                <a:rPr lang="en-US" sz="1800" dirty="0"/>
                <a:t>Ethical Hacking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C98E5E0-6BED-42E2-AE4B-E2CC298E90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9360" y="1594382"/>
            <a:ext cx="773335" cy="67229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689BF489-6F89-4E54-A3D1-D1F1C46537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67715" y="3662804"/>
            <a:ext cx="1011653" cy="83842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D576ABE-FB4D-43D5-9BF2-B5F45106A1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7226" y="1610659"/>
            <a:ext cx="773335" cy="54699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B3D5836-6C37-4349-8E44-A2F9FA1675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7147" y="1515986"/>
            <a:ext cx="921259" cy="68991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96F6FE2-F387-4CD2-A884-AD3FB1376F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49360" y="3821148"/>
            <a:ext cx="1048185" cy="62572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EE0E1BD2-5B8E-4CDD-B659-DFFDC68137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07148" y="3856497"/>
            <a:ext cx="794650" cy="530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92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 p14:presetBounceEnd="50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1" dur="1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2" dur="1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 p14:presetBounceEnd="50000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5" dur="1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6" dur="1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 p14:presetBounceEnd="50000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9" dur="1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0" dur="1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nodeType="withEffect" p14:presetBounceEnd="50000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3" dur="1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4" dur="1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nodeType="withEffect" p14:presetBounceEnd="50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27" dur="1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28" dur="1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4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5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</p:timing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Administración de la Capacidad</a:t>
            </a:r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6D9B2A5-C40A-423F-BBE1-33D3525C7F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8332" y="1946464"/>
            <a:ext cx="11085411" cy="237672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97C0FA6-324F-44BB-8352-E35CD83D5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9110" y="3746929"/>
            <a:ext cx="1182346" cy="10442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DB7214A-7C74-4B02-9985-D9A7D3B322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47312" y="3471341"/>
            <a:ext cx="1804577" cy="8518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173C1C-9C06-472D-95E4-3D71D3A404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7417" y="2565009"/>
            <a:ext cx="1550864" cy="821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950B8AD-0F34-4D7C-B829-D7498034D5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86176" y="2565009"/>
            <a:ext cx="1396583" cy="161144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F4A32A3-8B60-4888-8E86-9051D89277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63266" y="2565009"/>
            <a:ext cx="1530646" cy="10513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DC921DB-B823-4AC1-B6B3-D9DD10FA850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53466" y="3616362"/>
            <a:ext cx="1530646" cy="9530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F0ACB10-D4DE-48B5-90E3-2EE8840EA1D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22938" y="2463013"/>
            <a:ext cx="1396584" cy="82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2530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A799B29-7B7B-4F2D-B151-662C7501D2E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2152347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Nuestro desafío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B7EEE0-A502-43CA-BD8B-CE3744ABD080}"/>
              </a:ext>
            </a:extLst>
          </p:cNvPr>
          <p:cNvSpPr/>
          <p:nvPr/>
        </p:nvSpPr>
        <p:spPr>
          <a:xfrm>
            <a:off x="1482660" y="1233304"/>
            <a:ext cx="9855899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sz="2400" dirty="0">
                <a:solidFill>
                  <a:prstClr val="black"/>
                </a:solidFill>
                <a:latin typeface="Calibri" panose="020F0502020204030204"/>
              </a:rPr>
              <a:t>Un millón de nuevos usuarios en Internet al día</a:t>
            </a: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mento de 29.9 Millones de NDD en el último año a nivel mundial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endParaRPr kumimoji="0" lang="es-MX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mento de 5.1% </a:t>
            </a:r>
            <a:r>
              <a:rPr kumimoji="0" lang="es-MX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LDs</a:t>
            </a:r>
            <a:endParaRPr kumimoji="0" lang="es-MX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s-MX" sz="2000" dirty="0">
                <a:solidFill>
                  <a:prstClr val="black"/>
                </a:solidFill>
                <a:latin typeface="Calibri" panose="020F0502020204030204"/>
              </a:rPr>
              <a:t>Incremento de 8.5% </a:t>
            </a:r>
            <a:r>
              <a:rPr lang="es-MX" sz="2000" dirty="0" err="1">
                <a:solidFill>
                  <a:prstClr val="black"/>
                </a:solidFill>
                <a:latin typeface="Calibri" panose="020F0502020204030204"/>
              </a:rPr>
              <a:t>ccTLDs</a:t>
            </a:r>
            <a:endParaRPr lang="es-MX" sz="2000" dirty="0">
              <a:solidFill>
                <a:prstClr val="black"/>
              </a:solidFill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s-MX" sz="2000" dirty="0">
                <a:solidFill>
                  <a:prstClr val="black"/>
                </a:solidFill>
                <a:latin typeface="Calibri" panose="020F0502020204030204"/>
              </a:rPr>
              <a:t>Incremento del 11% para .</a:t>
            </a:r>
            <a:r>
              <a:rPr lang="es-MX" sz="2000" dirty="0" err="1">
                <a:solidFill>
                  <a:prstClr val="black"/>
                </a:solidFill>
                <a:latin typeface="Calibri" panose="020F0502020204030204"/>
              </a:rPr>
              <a:t>mx</a:t>
            </a:r>
            <a:endParaRPr kumimoji="0" lang="es-MX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C3C5529-2297-48E9-92A9-F31E71544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920" y="3036676"/>
            <a:ext cx="6087546" cy="31296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4E96F34-7330-4AA8-92CE-4485583C3E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2660" y="3871685"/>
            <a:ext cx="3600577" cy="203194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9C1FA2E-0364-4952-8FD9-FA17580EE73B}"/>
              </a:ext>
            </a:extLst>
          </p:cNvPr>
          <p:cNvSpPr/>
          <p:nvPr/>
        </p:nvSpPr>
        <p:spPr>
          <a:xfrm>
            <a:off x="2248745" y="3885548"/>
            <a:ext cx="23124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1400" dirty="0">
                <a:solidFill>
                  <a:prstClr val="black"/>
                </a:solidFill>
              </a:rPr>
              <a:t>Crecimiento de dominios .</a:t>
            </a:r>
            <a:r>
              <a:rPr lang="es-MX" sz="1400" dirty="0" err="1">
                <a:solidFill>
                  <a:prstClr val="black"/>
                </a:solidFill>
              </a:rPr>
              <a:t>mx</a:t>
            </a:r>
            <a:endParaRPr lang="en-US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EB9AB3-0F0B-47C5-AC6D-86DEA4EF8529}"/>
              </a:ext>
            </a:extLst>
          </p:cNvPr>
          <p:cNvSpPr/>
          <p:nvPr/>
        </p:nvSpPr>
        <p:spPr>
          <a:xfrm>
            <a:off x="1698622" y="5935518"/>
            <a:ext cx="317426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hlinkClick r:id="rId4"/>
              </a:rPr>
              <a:t>https://www.registry.mx/jsf/domain_statistics/monthly/info.jsf</a:t>
            </a:r>
            <a:endParaRPr lang="en-US" sz="9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8A37666-7303-4FC3-9F43-1D69EF6B50D1}"/>
              </a:ext>
            </a:extLst>
          </p:cNvPr>
          <p:cNvSpPr/>
          <p:nvPr/>
        </p:nvSpPr>
        <p:spPr>
          <a:xfrm>
            <a:off x="6903194" y="3036676"/>
            <a:ext cx="36921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1400" dirty="0">
                <a:solidFill>
                  <a:schemeClr val="bg1"/>
                </a:solidFill>
              </a:rPr>
              <a:t>Crecimiento anual de uso de Internet por región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234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Nuestro desafío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B7EEE0-A502-43CA-BD8B-CE3744ABD080}"/>
              </a:ext>
            </a:extLst>
          </p:cNvPr>
          <p:cNvSpPr/>
          <p:nvPr/>
        </p:nvSpPr>
        <p:spPr>
          <a:xfrm>
            <a:off x="1482660" y="1233304"/>
            <a:ext cx="9855899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tener  un 100% de disponibilidad en los servicios críticos y un 99.9% en el resto de los servicios al cliente de NIC México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mplimiento con regulacione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y de privacidad de datos persona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I-DS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CANN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75F8E99-F0FC-4D25-974A-8ECA1B2364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0243226"/>
              </p:ext>
            </p:extLst>
          </p:nvPr>
        </p:nvGraphicFramePr>
        <p:xfrm>
          <a:off x="4294460" y="2486025"/>
          <a:ext cx="4340493" cy="1125855"/>
        </p:xfrm>
        <a:graphic>
          <a:graphicData uri="http://schemas.openxmlformats.org/drawingml/2006/table">
            <a:tbl>
              <a:tblPr/>
              <a:tblGrid>
                <a:gridCol w="1895412">
                  <a:extLst>
                    <a:ext uri="{9D8B030D-6E8A-4147-A177-3AD203B41FA5}">
                      <a16:colId xmlns:a16="http://schemas.microsoft.com/office/drawing/2014/main" val="1552953833"/>
                    </a:ext>
                  </a:extLst>
                </a:gridCol>
                <a:gridCol w="2445081">
                  <a:extLst>
                    <a:ext uri="{9D8B030D-6E8A-4147-A177-3AD203B41FA5}">
                      <a16:colId xmlns:a16="http://schemas.microsoft.com/office/drawing/2014/main" val="2627129547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S MX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261399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ios Web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196267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</a:t>
                      </a:r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2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ois</a:t>
                      </a:r>
                      <a:endParaRPr lang="en-US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9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1500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508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Experiencia en Eventos de Fuerza Mayor</a:t>
            </a:r>
            <a:endParaRPr lang="en-US" dirty="0"/>
          </a:p>
        </p:txBody>
      </p:sp>
      <p:pic>
        <p:nvPicPr>
          <p:cNvPr id="6" name="Picture 2" descr="Resultado de imagen para huracan alex monterrey">
            <a:extLst>
              <a:ext uri="{FF2B5EF4-FFF2-40B4-BE49-F238E27FC236}">
                <a16:creationId xmlns:a16="http://schemas.microsoft.com/office/drawing/2014/main" id="{A1B0D285-3429-47A7-B4CF-BE0120D7A8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2114" y="3956261"/>
            <a:ext cx="2963560" cy="1938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Resultado de imagen para huracan alex monterrey">
            <a:extLst>
              <a:ext uri="{FF2B5EF4-FFF2-40B4-BE49-F238E27FC236}">
                <a16:creationId xmlns:a16="http://schemas.microsoft.com/office/drawing/2014/main" id="{F5DDAD22-30EA-4927-A74C-1B5B3A142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7223" y="3959055"/>
            <a:ext cx="4087120" cy="1938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https://upload.wikimedia.org/wikipedia/commons/8/82/Alex_2010_track.png">
            <a:extLst>
              <a:ext uri="{FF2B5EF4-FFF2-40B4-BE49-F238E27FC236}">
                <a16:creationId xmlns:a16="http://schemas.microsoft.com/office/drawing/2014/main" id="{36544511-7AC1-4AD8-A341-F82A6B0B4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7666" y="3956261"/>
            <a:ext cx="3136668" cy="1938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6FCB58F-BDFE-4068-BAF0-47DD5F053BE3}"/>
              </a:ext>
            </a:extLst>
          </p:cNvPr>
          <p:cNvSpPr/>
          <p:nvPr/>
        </p:nvSpPr>
        <p:spPr>
          <a:xfrm>
            <a:off x="1165590" y="3377872"/>
            <a:ext cx="20042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racán Alex: 20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082BDE-1E9C-4723-A53D-CD672980C79E}"/>
              </a:ext>
            </a:extLst>
          </p:cNvPr>
          <p:cNvSpPr/>
          <p:nvPr/>
        </p:nvSpPr>
        <p:spPr>
          <a:xfrm>
            <a:off x="1167502" y="1266795"/>
            <a:ext cx="5190267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luenza AH1N1: 2009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mbrada </a:t>
            </a:r>
            <a:r>
              <a:rPr kumimoji="0" lang="es-E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ndemia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por la OMS</a:t>
            </a:r>
            <a:endParaRPr kumimoji="0" lang="es-MX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spensión de clases en todo el territorio nacion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celación de actividades en sitios público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iones de seguridad en aeropuerto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F00C0FC-467E-45E7-BE31-418C259334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2527" y="960018"/>
            <a:ext cx="1959698" cy="2604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259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Riesgos por factores externos</a:t>
            </a:r>
            <a:endParaRPr lang="en-US" dirty="0"/>
          </a:p>
        </p:txBody>
      </p:sp>
      <p:pic>
        <p:nvPicPr>
          <p:cNvPr id="5" name="Picture 2" descr="Resultado de imagen para huracan alex monterrey">
            <a:extLst>
              <a:ext uri="{FF2B5EF4-FFF2-40B4-BE49-F238E27FC236}">
                <a16:creationId xmlns:a16="http://schemas.microsoft.com/office/drawing/2014/main" id="{408D0CF6-DC7B-44C4-A566-B9DCE3B940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1052" y="3407652"/>
            <a:ext cx="1424443" cy="860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63B2BA-6E87-436C-9738-BD77A6C1A9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11052" y="1396777"/>
            <a:ext cx="1424443" cy="87257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8185D6D-CCEE-48BC-BC58-F2DC9124D6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1052" y="4448445"/>
            <a:ext cx="1424443" cy="753443"/>
          </a:xfrm>
          <a:prstGeom prst="rect">
            <a:avLst/>
          </a:prstGeom>
        </p:spPr>
      </p:pic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9C7FE665-A0DA-4679-BB40-197120A7AE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0510207"/>
              </p:ext>
            </p:extLst>
          </p:nvPr>
        </p:nvGraphicFramePr>
        <p:xfrm>
          <a:off x="3915810" y="1446359"/>
          <a:ext cx="4119983" cy="822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BDF43D0-BEA9-4B91-93B1-34EDF2403A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4883179"/>
              </p:ext>
            </p:extLst>
          </p:nvPr>
        </p:nvGraphicFramePr>
        <p:xfrm>
          <a:off x="3915810" y="2463009"/>
          <a:ext cx="4119983" cy="822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B8CFF0A6-D388-48D0-9355-73CF95E231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0998391"/>
              </p:ext>
            </p:extLst>
          </p:nvPr>
        </p:nvGraphicFramePr>
        <p:xfrm>
          <a:off x="3915810" y="3436240"/>
          <a:ext cx="4119983" cy="822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80EAE57F-BBD6-48FA-9BD9-11045CBEAB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3207702"/>
              </p:ext>
            </p:extLst>
          </p:nvPr>
        </p:nvGraphicFramePr>
        <p:xfrm>
          <a:off x="3915810" y="4424456"/>
          <a:ext cx="4119983" cy="822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0" r:lo="rId21" r:qs="rId22" r:cs="rId23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74D92A09-1515-426A-83AF-9CF415285B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2631933"/>
              </p:ext>
            </p:extLst>
          </p:nvPr>
        </p:nvGraphicFramePr>
        <p:xfrm>
          <a:off x="3915809" y="5397094"/>
          <a:ext cx="4119983" cy="822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383500DB-F120-40B8-BA5D-FF24EA186D4F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411052" y="2404305"/>
            <a:ext cx="1463309" cy="82299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48A210F-A12A-486B-A150-2323C2327C36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411052" y="5382241"/>
            <a:ext cx="1463309" cy="803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923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>
                <a:latin typeface="Arial Black"/>
              </a:rPr>
              <a:t>Peticiones DNS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3AFCE52-DF4E-4F78-A7AE-579870A863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868377"/>
              </p:ext>
            </p:extLst>
          </p:nvPr>
        </p:nvGraphicFramePr>
        <p:xfrm>
          <a:off x="1013477" y="1497533"/>
          <a:ext cx="10711992" cy="4598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B83EF5-68EB-466E-837B-93CC48C3813F}"/>
              </a:ext>
            </a:extLst>
          </p:cNvPr>
          <p:cNvSpPr/>
          <p:nvPr/>
        </p:nvSpPr>
        <p:spPr>
          <a:xfrm>
            <a:off x="10723555" y="3732607"/>
            <a:ext cx="42992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1100" dirty="0">
                <a:solidFill>
                  <a:prstClr val="black"/>
                </a:solidFill>
              </a:rPr>
              <a:t>29%</a:t>
            </a:r>
            <a:endParaRPr lang="en-US" sz="11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F395FC1-3ACC-46AD-BC2B-E15D3EFF03CC}"/>
              </a:ext>
            </a:extLst>
          </p:cNvPr>
          <p:cNvSpPr/>
          <p:nvPr/>
        </p:nvSpPr>
        <p:spPr>
          <a:xfrm>
            <a:off x="10725302" y="3943115"/>
            <a:ext cx="42992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1100" dirty="0">
                <a:solidFill>
                  <a:prstClr val="black"/>
                </a:solidFill>
              </a:rPr>
              <a:t>71%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651725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49FC75-24DB-47F7-BA3D-116C0E73F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1369" y="141569"/>
            <a:ext cx="11320631" cy="491477"/>
          </a:xfrm>
        </p:spPr>
        <p:txBody>
          <a:bodyPr/>
          <a:lstStyle/>
          <a:p>
            <a:r>
              <a:rPr lang="es-MX" dirty="0">
                <a:latin typeface="Arial Black"/>
              </a:rPr>
              <a:t>Acciones para asegurar la disponibilidad de los servicio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9284CA-B933-4526-AB14-7FA29F1AED00}"/>
              </a:ext>
            </a:extLst>
          </p:cNvPr>
          <p:cNvSpPr txBox="1">
            <a:spLocks/>
          </p:cNvSpPr>
          <p:nvPr/>
        </p:nvSpPr>
        <p:spPr>
          <a:xfrm>
            <a:off x="1099969" y="1369127"/>
            <a:ext cx="10515600" cy="4351338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ycast DN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ción de servidores en distintas ubicacion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ato de servicio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acidad de administración local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aboración con otras organizaciones </a:t>
            </a:r>
            <a:r>
              <a:rPr kumimoji="0" lang="es-419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ISC, ICANN, LACNIC, LACTLD, Chile)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419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elencia Operativa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novación de infraestructura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álisis y mitigación de vulnerabilidad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inuidad del negocio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419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mplimiento normativas </a:t>
            </a:r>
            <a:r>
              <a:rPr kumimoji="0" lang="es-419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CI-DSS, LFPDPPP, ICANN, LACNIC)</a:t>
            </a:r>
            <a:endParaRPr kumimoji="0" lang="es-419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419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419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419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8924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BF5020-40D6-43CF-BE99-7255DB9ABD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nycast D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72B2753-1FED-4231-BABC-6EA0AE0EEA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429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OVbaORcSELhdk9GPnX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A2F5A02B4F9946A50BFB3CB76C8178" ma:contentTypeVersion="2" ma:contentTypeDescription="Create a new document." ma:contentTypeScope="" ma:versionID="93782b1538da098efaff54e611f05327">
  <xsd:schema xmlns:xsd="http://www.w3.org/2001/XMLSchema" xmlns:xs="http://www.w3.org/2001/XMLSchema" xmlns:p="http://schemas.microsoft.com/office/2006/metadata/properties" xmlns:ns2="51a61bdf-333f-4ebd-b0e4-236fba788ff9" targetNamespace="http://schemas.microsoft.com/office/2006/metadata/properties" ma:root="true" ma:fieldsID="83bfb5535e73a7c16088cf5e6b96b4aa" ns2:_="">
    <xsd:import namespace="51a61bdf-333f-4ebd-b0e4-236fba788f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a61bdf-333f-4ebd-b0e4-236fba788f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EDCE7CC-2CF1-478F-80B9-22670312CFAD}">
  <ds:schemaRefs>
    <ds:schemaRef ds:uri="51a61bdf-333f-4ebd-b0e4-236fba788ff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AE8F984-A1EC-491D-B098-6E3BD1864549}">
  <ds:schemaRefs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purl.org/dc/terms/"/>
    <ds:schemaRef ds:uri="http://purl.org/dc/dcmitype/"/>
    <ds:schemaRef ds:uri="51a61bdf-333f-4ebd-b0e4-236fba788ff9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121E3AA-CAA6-486F-8005-5AD1FB84D6C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57</TotalTime>
  <Words>962</Words>
  <Application>Microsoft Office PowerPoint</Application>
  <PresentationFormat>Widescreen</PresentationFormat>
  <Paragraphs>235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Arial Black</vt:lpstr>
      <vt:lpstr>Calibri</vt:lpstr>
      <vt:lpstr>Calibri Light</vt:lpstr>
      <vt:lpstr>Nunito</vt:lpstr>
      <vt:lpstr>Source Sans Pro</vt:lpstr>
      <vt:lpstr>Source Sans Pro Black</vt:lpstr>
      <vt:lpstr>Office Theme</vt:lpstr>
      <vt:lpstr>think-cell Slide</vt:lpstr>
      <vt:lpstr>NIC México</vt:lpstr>
      <vt:lpstr>NIC México</vt:lpstr>
      <vt:lpstr>Nuestro desafío</vt:lpstr>
      <vt:lpstr>Nuestro desafío</vt:lpstr>
      <vt:lpstr>Experiencia en Eventos de Fuerza Mayor</vt:lpstr>
      <vt:lpstr>Riesgos por factores externos</vt:lpstr>
      <vt:lpstr>Peticiones DNS</vt:lpstr>
      <vt:lpstr>Acciones para asegurar la disponibilidad de los servicios</vt:lpstr>
      <vt:lpstr>Anycast DNS</vt:lpstr>
      <vt:lpstr>AnyCast MX: Ubicación</vt:lpstr>
      <vt:lpstr>¿Por qué Anycast?</vt:lpstr>
      <vt:lpstr>Infraestructura DNS</vt:lpstr>
      <vt:lpstr>Ingenieria de Tráfico</vt:lpstr>
      <vt:lpstr>Origen de peticiones DNS</vt:lpstr>
      <vt:lpstr>Excelencia Operativa</vt:lpstr>
      <vt:lpstr>Excelencia Operativa</vt:lpstr>
      <vt:lpstr>Plan de Continuidad de Negocio</vt:lpstr>
      <vt:lpstr>Continuidad del Servicio</vt:lpstr>
      <vt:lpstr>Sistema de Gestión de Seguridad de la Información</vt:lpstr>
      <vt:lpstr>Pruebas de Seguridad</vt:lpstr>
      <vt:lpstr>Administración de la Capacidad</vt:lpstr>
      <vt:lpstr>Graci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ugenio Lozano</dc:creator>
  <cp:lastModifiedBy>Jorge Adrián Azzario Hernández</cp:lastModifiedBy>
  <cp:revision>104</cp:revision>
  <dcterms:created xsi:type="dcterms:W3CDTF">2019-03-20T19:03:17Z</dcterms:created>
  <dcterms:modified xsi:type="dcterms:W3CDTF">2020-03-04T22:1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A2F5A02B4F9946A50BFB3CB76C8178</vt:lpwstr>
  </property>
</Properties>
</file>